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sldIdLst>
    <p:sldId id="265" r:id="rId2"/>
    <p:sldId id="277" r:id="rId3"/>
    <p:sldId id="261" r:id="rId4"/>
    <p:sldId id="323" r:id="rId5"/>
    <p:sldId id="328" r:id="rId6"/>
    <p:sldId id="327" r:id="rId7"/>
    <p:sldId id="331" r:id="rId8"/>
    <p:sldId id="333" r:id="rId9"/>
    <p:sldId id="334" r:id="rId10"/>
    <p:sldId id="322" r:id="rId11"/>
    <p:sldId id="342" r:id="rId12"/>
    <p:sldId id="339" r:id="rId13"/>
    <p:sldId id="340" r:id="rId14"/>
    <p:sldId id="338" r:id="rId15"/>
    <p:sldId id="341" r:id="rId16"/>
  </p:sldIdLst>
  <p:sldSz cx="9144000" cy="6858000" type="screen4x3"/>
  <p:notesSz cx="6735763" cy="9866313"/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89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Помірний стиль 4 –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7DF18680-E054-41AD-8BC1-D1AEF772440D}" styleName="Помірний стиль 2 –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Помірний стиль 3 –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B4B98B0-60AC-42C2-AFA5-B58CD77FA1E5}" styleName="Світлий стиль 1 –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51" autoAdjust="0"/>
    <p:restoredTop sz="94629" autoAdjust="0"/>
  </p:normalViewPr>
  <p:slideViewPr>
    <p:cSldViewPr>
      <p:cViewPr varScale="1">
        <p:scale>
          <a:sx n="116" d="100"/>
          <a:sy n="116" d="100"/>
        </p:scale>
        <p:origin x="1692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ерхнього колонтитула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0" cy="493316"/>
          </a:xfrm>
          <a:prstGeom prst="rect">
            <a:avLst/>
          </a:prstGeom>
        </p:spPr>
        <p:txBody>
          <a:bodyPr vert="horz" lIns="91350" tIns="45674" rIns="91350" bIns="45674" rtlCol="0"/>
          <a:lstStyle>
            <a:lvl1pPr algn="l">
              <a:defRPr sz="1200"/>
            </a:lvl1pPr>
          </a:lstStyle>
          <a:p>
            <a:endParaRPr lang="uk-UA" dirty="0"/>
          </a:p>
        </p:txBody>
      </p:sp>
      <p:sp>
        <p:nvSpPr>
          <p:cNvPr id="3" name="Місце для дати 2"/>
          <p:cNvSpPr>
            <a:spLocks noGrp="1"/>
          </p:cNvSpPr>
          <p:nvPr>
            <p:ph type="dt" idx="1"/>
          </p:nvPr>
        </p:nvSpPr>
        <p:spPr>
          <a:xfrm>
            <a:off x="3815376" y="0"/>
            <a:ext cx="2918830" cy="493316"/>
          </a:xfrm>
          <a:prstGeom prst="rect">
            <a:avLst/>
          </a:prstGeom>
        </p:spPr>
        <p:txBody>
          <a:bodyPr vert="horz" lIns="91350" tIns="45674" rIns="91350" bIns="45674" rtlCol="0"/>
          <a:lstStyle>
            <a:lvl1pPr algn="r">
              <a:defRPr sz="1200"/>
            </a:lvl1pPr>
          </a:lstStyle>
          <a:p>
            <a:fld id="{B9AB9970-EC38-47A6-BAFA-B30FE591FA4A}" type="datetimeFigureOut">
              <a:rPr lang="uk-UA" smtClean="0"/>
              <a:pPr/>
              <a:t>23.11.2016</a:t>
            </a:fld>
            <a:endParaRPr lang="uk-UA" dirty="0"/>
          </a:p>
        </p:txBody>
      </p:sp>
      <p:sp>
        <p:nvSpPr>
          <p:cNvPr id="4" name="Місце для зображення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50" tIns="45674" rIns="91350" bIns="45674" rtlCol="0" anchor="ctr"/>
          <a:lstStyle/>
          <a:p>
            <a:endParaRPr lang="uk-UA" dirty="0"/>
          </a:p>
        </p:txBody>
      </p:sp>
      <p:sp>
        <p:nvSpPr>
          <p:cNvPr id="5" name="Місце для нотаток 4"/>
          <p:cNvSpPr>
            <a:spLocks noGrp="1"/>
          </p:cNvSpPr>
          <p:nvPr>
            <p:ph type="body" sz="quarter" idx="3"/>
          </p:nvPr>
        </p:nvSpPr>
        <p:spPr>
          <a:xfrm>
            <a:off x="673577" y="4686502"/>
            <a:ext cx="5388610" cy="4439841"/>
          </a:xfrm>
          <a:prstGeom prst="rect">
            <a:avLst/>
          </a:prstGeom>
        </p:spPr>
        <p:txBody>
          <a:bodyPr vert="horz" lIns="91350" tIns="45674" rIns="91350" bIns="45674" rtlCol="0"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0" cy="493316"/>
          </a:xfrm>
          <a:prstGeom prst="rect">
            <a:avLst/>
          </a:prstGeom>
        </p:spPr>
        <p:txBody>
          <a:bodyPr vert="horz" lIns="91350" tIns="45674" rIns="91350" bIns="45674" rtlCol="0" anchor="b"/>
          <a:lstStyle>
            <a:lvl1pPr algn="l">
              <a:defRPr sz="1200"/>
            </a:lvl1pPr>
          </a:lstStyle>
          <a:p>
            <a:endParaRPr lang="uk-UA" dirty="0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5"/>
          </p:nvPr>
        </p:nvSpPr>
        <p:spPr>
          <a:xfrm>
            <a:off x="3815376" y="9371285"/>
            <a:ext cx="2918830" cy="493316"/>
          </a:xfrm>
          <a:prstGeom prst="rect">
            <a:avLst/>
          </a:prstGeom>
        </p:spPr>
        <p:txBody>
          <a:bodyPr vert="horz" lIns="91350" tIns="45674" rIns="91350" bIns="45674" rtlCol="0" anchor="b"/>
          <a:lstStyle>
            <a:lvl1pPr algn="r">
              <a:defRPr sz="1200"/>
            </a:lvl1pPr>
          </a:lstStyle>
          <a:p>
            <a:fld id="{384DF921-AA94-4CF6-885A-31F5B4AD9226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9697468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4DF921-AA94-4CF6-885A-31F5B4AD9226}" type="slidenum">
              <a:rPr lang="uk-UA" smtClean="0"/>
              <a:pPr/>
              <a:t>1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5588151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Пі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uk-UA" smtClean="0"/>
              <a:t>Зразок підзаголовка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5FB565-3A0D-4EF0-9A9A-769CDF791F30}" type="datetime1">
              <a:rPr lang="uk-UA" smtClean="0"/>
              <a:pPr/>
              <a:t>23.11.2016</a:t>
            </a:fld>
            <a:endParaRPr lang="uk-UA" dirty="0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1170985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75185-25CB-4515-81F1-4AF8684B6FE4}" type="datetime1">
              <a:rPr lang="uk-UA" smtClean="0"/>
              <a:pPr/>
              <a:t>23.11.2016</a:t>
            </a:fld>
            <a:endParaRPr lang="uk-UA" dirty="0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088586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625DB-582D-48DE-ADAA-EF25A473FF37}" type="datetime1">
              <a:rPr lang="uk-UA" smtClean="0"/>
              <a:pPr/>
              <a:t>23.11.2016</a:t>
            </a:fld>
            <a:endParaRPr lang="uk-UA" dirty="0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2818116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і об'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BE6C17-9786-4560-A8B3-893AE3B22DDF}" type="datetime1">
              <a:rPr lang="uk-UA" smtClean="0"/>
              <a:pPr/>
              <a:t>23.11.2016</a:t>
            </a:fld>
            <a:endParaRPr lang="uk-UA" dirty="0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7954885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D13063-55C4-4037-9C00-786B9A24D960}" type="datetime1">
              <a:rPr lang="uk-UA" smtClean="0"/>
              <a:pPr/>
              <a:t>23.11.2016</a:t>
            </a:fld>
            <a:endParaRPr lang="uk-UA" dirty="0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2192979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'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DFF933-2EDB-4C92-B12F-F2BF1FDADC51}" type="datetime1">
              <a:rPr lang="uk-UA" smtClean="0"/>
              <a:pPr/>
              <a:t>23.11.2016</a:t>
            </a:fld>
            <a:endParaRPr lang="uk-UA" dirty="0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307943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5" name="Місце для тексту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6" name="Місце для вмісту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7" name="Місце для дати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6EF24-21D1-4E4D-9B7E-48A0CB95545D}" type="datetime1">
              <a:rPr lang="uk-UA" smtClean="0"/>
              <a:pPr/>
              <a:t>23.11.2016</a:t>
            </a:fld>
            <a:endParaRPr lang="uk-UA" dirty="0"/>
          </a:p>
        </p:txBody>
      </p:sp>
      <p:sp>
        <p:nvSpPr>
          <p:cNvPr id="8" name="Місце для нижнього колонтитула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9" name="Місце для номера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091122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1BA8C-689C-47DC-B12D-7807567AC055}" type="datetime1">
              <a:rPr lang="uk-UA" smtClean="0"/>
              <a:pPr/>
              <a:t>23.11.2016</a:t>
            </a:fld>
            <a:endParaRPr lang="uk-UA" dirty="0"/>
          </a:p>
        </p:txBody>
      </p:sp>
      <p:sp>
        <p:nvSpPr>
          <p:cNvPr id="4" name="Місце для нижнього колонтитула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5" name="Місце для номера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4965732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22BA6-4249-4E3C-89AD-DB5C3ACBA8A9}" type="datetime1">
              <a:rPr lang="uk-UA" smtClean="0"/>
              <a:pPr/>
              <a:t>23.11.2016</a:t>
            </a:fld>
            <a:endParaRPr lang="uk-UA" dirty="0"/>
          </a:p>
        </p:txBody>
      </p:sp>
      <p:sp>
        <p:nvSpPr>
          <p:cNvPr id="3" name="Місце для нижнього колонтитула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7726130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D5FC3-D5FC-494D-A2D4-C62741442330}" type="datetime1">
              <a:rPr lang="uk-UA" smtClean="0"/>
              <a:pPr/>
              <a:t>23.11.2016</a:t>
            </a:fld>
            <a:endParaRPr lang="uk-UA" dirty="0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4735160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Зображення 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зображення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uk-UA" dirty="0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B94B1-85EE-4951-B69B-F465B58BAFBA}" type="datetime1">
              <a:rPr lang="uk-UA" smtClean="0"/>
              <a:pPr/>
              <a:t>23.11.2016</a:t>
            </a:fld>
            <a:endParaRPr lang="uk-UA" dirty="0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2891740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3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аголовка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BBEEC9-22FD-4C5F-850F-368B587117FC}" type="datetime1">
              <a:rPr lang="uk-UA" smtClean="0"/>
              <a:pPr/>
              <a:t>23.11.2016</a:t>
            </a:fld>
            <a:endParaRPr lang="uk-UA" dirty="0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 dirty="0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007140-6995-4AB9-AB6F-66370758DCF6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632540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6" Type="http://schemas.openxmlformats.org/officeDocument/2006/relationships/package" Target="../embeddings/Microsoft_Excel_Worksheet1.xlsx"/><Relationship Id="rId5" Type="http://schemas.openxmlformats.org/officeDocument/2006/relationships/oleObject" Target="../embeddings/oleObject1.bin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10"/>
          <p:cNvPicPr>
            <a:picLocks noChangeAspect="1"/>
          </p:cNvPicPr>
          <p:nvPr/>
        </p:nvPicPr>
        <p:blipFill>
          <a:blip r:embed="rId4" cstate="print"/>
          <a:srcRect b="12531"/>
          <a:stretch>
            <a:fillRect/>
          </a:stretch>
        </p:blipFill>
        <p:spPr bwMode="auto">
          <a:xfrm>
            <a:off x="55937" y="3611770"/>
            <a:ext cx="9097962" cy="3284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кутник 1"/>
          <p:cNvSpPr/>
          <p:nvPr/>
        </p:nvSpPr>
        <p:spPr>
          <a:xfrm>
            <a:off x="1161986" y="1078865"/>
            <a:ext cx="734481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ЕРЖАВНИЙ ФОНД </a:t>
            </a:r>
            <a:r>
              <a:rPr lang="ru-RU" sz="32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ГІОНАЛЬНОГО </a:t>
            </a:r>
            <a:r>
              <a:rPr lang="ru-RU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ОЗВИТКУ – ФІНАНСОВИЙ ІНСТРУМЕНТ СТАЛОГО РЕГІОНАЛЬНОГО РОЗВИТКУ </a:t>
            </a:r>
            <a:endParaRPr lang="uk-UA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Рисунок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" y="0"/>
            <a:ext cx="108069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Скругленный прямоугольник 4"/>
          <p:cNvSpPr/>
          <p:nvPr/>
        </p:nvSpPr>
        <p:spPr>
          <a:xfrm>
            <a:off x="1161986" y="116632"/>
            <a:ext cx="7344110" cy="574675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60361" tIns="60361" rIns="60361" bIns="60361" anchor="ctr"/>
          <a:lstStyle/>
          <a:p>
            <a:pPr algn="ctr" defTabSz="703263">
              <a:lnSpc>
                <a:spcPct val="90000"/>
              </a:lnSpc>
              <a:spcAft>
                <a:spcPct val="35000"/>
              </a:spcAft>
              <a:defRPr/>
            </a:pPr>
            <a:r>
              <a:rPr lang="uk-UA" sz="1700" b="1" dirty="0">
                <a:solidFill>
                  <a:schemeClr val="tx2"/>
                </a:solidFill>
                <a:cs typeface="Times New Roman" pitchFamily="18" charset="0"/>
              </a:rPr>
              <a:t>МІНІСТЕРСТВО РЕГІОНАЛЬНОГО РОЗВИТКУ, БУДІВНИЦТВА </a:t>
            </a:r>
            <a:br>
              <a:rPr lang="uk-UA" sz="1700" b="1" dirty="0">
                <a:solidFill>
                  <a:schemeClr val="tx2"/>
                </a:solidFill>
                <a:cs typeface="Times New Roman" pitchFamily="18" charset="0"/>
              </a:rPr>
            </a:br>
            <a:r>
              <a:rPr lang="uk-UA" sz="1700" b="1" dirty="0">
                <a:solidFill>
                  <a:schemeClr val="tx2"/>
                </a:solidFill>
                <a:cs typeface="Times New Roman" pitchFamily="18" charset="0"/>
              </a:rPr>
              <a:t>ТА ЖИТЛОВО-КОМУНАЛЬНОГО ГОСПОДАРСТВА УКРАЇНИ</a:t>
            </a:r>
          </a:p>
        </p:txBody>
      </p:sp>
      <p:sp>
        <p:nvSpPr>
          <p:cNvPr id="6" name="Прямоугольник 6"/>
          <p:cNvSpPr/>
          <p:nvPr/>
        </p:nvSpPr>
        <p:spPr>
          <a:xfrm>
            <a:off x="899592" y="3789040"/>
            <a:ext cx="3934802" cy="1368549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tabLst>
                <a:tab pos="3767138" algn="l"/>
              </a:tabLst>
              <a:defRPr/>
            </a:pPr>
            <a:r>
              <a:rPr lang="uk-UA" sz="1400" dirty="0" smtClean="0">
                <a:solidFill>
                  <a:srgbClr val="002060"/>
                </a:solidFill>
                <a:latin typeface="+mj-lt"/>
              </a:rPr>
              <a:t>Управління впровадження та моніторингу пріоритетних проектів будівництва Міністерства </a:t>
            </a:r>
            <a:r>
              <a:rPr lang="uk-UA" sz="1400" dirty="0">
                <a:solidFill>
                  <a:srgbClr val="002060"/>
                </a:solidFill>
                <a:latin typeface="+mj-lt"/>
                <a:cs typeface="Times New Roman" pitchFamily="18" charset="0"/>
              </a:rPr>
              <a:t>регіонального розвитку, будівництва </a:t>
            </a:r>
            <a:r>
              <a:rPr lang="uk-UA" sz="1400" dirty="0" smtClean="0">
                <a:solidFill>
                  <a:srgbClr val="002060"/>
                </a:solidFill>
                <a:latin typeface="+mj-lt"/>
                <a:cs typeface="Times New Roman" pitchFamily="18" charset="0"/>
              </a:rPr>
              <a:t>та </a:t>
            </a:r>
            <a:r>
              <a:rPr lang="uk-UA" sz="1400" dirty="0">
                <a:solidFill>
                  <a:srgbClr val="002060"/>
                </a:solidFill>
                <a:latin typeface="+mj-lt"/>
                <a:cs typeface="Times New Roman" pitchFamily="18" charset="0"/>
              </a:rPr>
              <a:t>житлово-комунального господарства України</a:t>
            </a:r>
            <a:endParaRPr lang="uk-UA" sz="1400" dirty="0">
              <a:solidFill>
                <a:srgbClr val="002060"/>
              </a:solidFill>
              <a:latin typeface="+mj-lt"/>
            </a:endParaRPr>
          </a:p>
          <a:p>
            <a:pPr algn="ctr">
              <a:defRPr/>
            </a:pPr>
            <a:r>
              <a:rPr lang="uk-UA" sz="1600" dirty="0">
                <a:latin typeface="+mj-lt"/>
              </a:rPr>
              <a:t> </a:t>
            </a:r>
            <a:endParaRPr lang="uk-UA" sz="1600" dirty="0" smtClean="0">
              <a:latin typeface="+mj-lt"/>
            </a:endParaRPr>
          </a:p>
        </p:txBody>
      </p:sp>
      <p:pic>
        <p:nvPicPr>
          <p:cNvPr id="8" name="Рисунок 12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480049" y="4941168"/>
            <a:ext cx="6673850" cy="191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1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547881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Rectangle 3"/>
          <p:cNvSpPr txBox="1">
            <a:spLocks noChangeArrowheads="1"/>
          </p:cNvSpPr>
          <p:nvPr/>
        </p:nvSpPr>
        <p:spPr>
          <a:xfrm>
            <a:off x="952124" y="352356"/>
            <a:ext cx="7671889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КРИТЕР</a:t>
            </a:r>
            <a:r>
              <a:rPr lang="uk-UA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ІЇ ОЦІНЮВАННЯ ПРОЕКТІВ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2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-304800" y="381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pic>
        <p:nvPicPr>
          <p:cNvPr id="97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22842"/>
            <a:ext cx="623914" cy="831885"/>
          </a:xfrm>
          <a:prstGeom prst="rect">
            <a:avLst/>
          </a:prstGeom>
        </p:spPr>
      </p:pic>
      <p:sp>
        <p:nvSpPr>
          <p:cNvPr id="98" name="Прямоугольник 2"/>
          <p:cNvSpPr/>
          <p:nvPr/>
        </p:nvSpPr>
        <p:spPr>
          <a:xfrm flipV="1">
            <a:off x="420620" y="977588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кутник 17"/>
          <p:cNvSpPr/>
          <p:nvPr/>
        </p:nvSpPr>
        <p:spPr>
          <a:xfrm>
            <a:off x="188349" y="2424953"/>
            <a:ext cx="3981611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uk-UA" sz="1300" strike="sngStrike" dirty="0">
              <a:solidFill>
                <a:srgbClr val="000000"/>
              </a:solidFill>
              <a:effectLst/>
              <a:latin typeface="+mj-lt"/>
              <a:ea typeface="Calibri" panose="020F0502020204030204" pitchFamily="34" charset="0"/>
            </a:endParaRPr>
          </a:p>
        </p:txBody>
      </p:sp>
      <p:sp>
        <p:nvSpPr>
          <p:cNvPr id="20" name="Прямокутник 19"/>
          <p:cNvSpPr/>
          <p:nvPr/>
        </p:nvSpPr>
        <p:spPr>
          <a:xfrm>
            <a:off x="405615" y="1023307"/>
            <a:ext cx="8400386" cy="5514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uk-UA" sz="1000" b="1" i="1" u="sng" dirty="0" smtClean="0">
              <a:solidFill>
                <a:srgbClr val="0070C0"/>
              </a:solidFill>
            </a:endParaRP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r>
              <a:rPr lang="uk-UA" sz="2000" b="1" i="1" u="sng" dirty="0" smtClean="0">
                <a:solidFill>
                  <a:srgbClr val="0070C0"/>
                </a:solidFill>
              </a:rPr>
              <a:t>Територія охоплення </a:t>
            </a:r>
            <a:r>
              <a:rPr lang="uk-UA" sz="2000" i="1" u="sng" dirty="0" smtClean="0">
                <a:solidFill>
                  <a:srgbClr val="0070C0"/>
                </a:solidFill>
              </a:rPr>
              <a:t>вирішення проблеми </a:t>
            </a:r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 smtClean="0"/>
              <a:t>5 балів </a:t>
            </a:r>
            <a:r>
              <a:rPr lang="uk-UA" i="1" dirty="0" smtClean="0"/>
              <a:t>- одна громада або до 5 % мешканців  для ОТГ</a:t>
            </a:r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 smtClean="0"/>
              <a:t>10 балів </a:t>
            </a:r>
            <a:r>
              <a:rPr lang="uk-UA" i="1" dirty="0" smtClean="0"/>
              <a:t>- кілька громад/район або від 5 до 20 % мешканців для ОТГ</a:t>
            </a:r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 smtClean="0"/>
              <a:t>15 балів </a:t>
            </a:r>
            <a:r>
              <a:rPr lang="uk-UA" i="1" dirty="0" smtClean="0"/>
              <a:t>- </a:t>
            </a:r>
            <a:r>
              <a:rPr lang="uk-UA" i="1" dirty="0"/>
              <a:t>кілька районів </a:t>
            </a:r>
            <a:r>
              <a:rPr lang="uk-UA" i="1" dirty="0" smtClean="0"/>
              <a:t>області або від 20 до 50 % мешканців для ОТГ</a:t>
            </a:r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 smtClean="0"/>
              <a:t>20 балів </a:t>
            </a:r>
            <a:r>
              <a:rPr lang="uk-UA" i="1" dirty="0" smtClean="0"/>
              <a:t>- вся </a:t>
            </a:r>
            <a:r>
              <a:rPr lang="uk-UA" i="1" dirty="0"/>
              <a:t>область</a:t>
            </a:r>
            <a:r>
              <a:rPr lang="uk-UA" i="1" dirty="0" smtClean="0"/>
              <a:t> або від 50 до 100 % мешканців для ОТГ</a:t>
            </a: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r>
              <a:rPr lang="uk-UA" sz="2000" b="1" i="1" u="sng" dirty="0" smtClean="0">
                <a:solidFill>
                  <a:srgbClr val="0070C0"/>
                </a:solidFill>
              </a:rPr>
              <a:t>Вплив проекту на вирішення проблеми</a:t>
            </a:r>
            <a:r>
              <a:rPr lang="uk-UA" sz="2000" i="1" u="sng" dirty="0" smtClean="0">
                <a:solidFill>
                  <a:srgbClr val="0070C0"/>
                </a:solidFill>
              </a:rPr>
              <a:t>, </a:t>
            </a:r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 smtClean="0"/>
              <a:t>5 </a:t>
            </a:r>
            <a:r>
              <a:rPr lang="uk-UA" b="1" i="1" dirty="0"/>
              <a:t>балів </a:t>
            </a:r>
            <a:r>
              <a:rPr lang="uk-UA" i="1" dirty="0" smtClean="0"/>
              <a:t>– </a:t>
            </a:r>
            <a:r>
              <a:rPr lang="uk-UA" dirty="0" smtClean="0"/>
              <a:t>опосередкований вплив </a:t>
            </a:r>
            <a:endParaRPr lang="uk-UA" dirty="0"/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/>
              <a:t>10 балів </a:t>
            </a:r>
            <a:r>
              <a:rPr lang="uk-UA" i="1" dirty="0" smtClean="0"/>
              <a:t>– </a:t>
            </a:r>
            <a:r>
              <a:rPr lang="uk-UA" dirty="0" smtClean="0"/>
              <a:t>незначний прямий вплив</a:t>
            </a:r>
            <a:endParaRPr lang="uk-UA" dirty="0"/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/>
              <a:t>15 балів </a:t>
            </a:r>
            <a:r>
              <a:rPr lang="uk-UA" i="1" dirty="0" smtClean="0"/>
              <a:t>– </a:t>
            </a:r>
            <a:r>
              <a:rPr lang="uk-UA" dirty="0" smtClean="0"/>
              <a:t>частково вирішує </a:t>
            </a:r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 smtClean="0"/>
              <a:t>20 </a:t>
            </a:r>
            <a:r>
              <a:rPr lang="uk-UA" b="1" i="1" dirty="0"/>
              <a:t>балів </a:t>
            </a:r>
            <a:r>
              <a:rPr lang="uk-UA" i="1" dirty="0" smtClean="0"/>
              <a:t>– </a:t>
            </a:r>
            <a:r>
              <a:rPr lang="uk-UA" dirty="0" smtClean="0"/>
              <a:t>повністю вирішує </a:t>
            </a:r>
            <a:endParaRPr lang="uk-UA" i="1" dirty="0"/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r>
              <a:rPr lang="uk-UA" sz="2000" b="1" i="1" u="sng" dirty="0" err="1" smtClean="0">
                <a:solidFill>
                  <a:srgbClr val="0070C0"/>
                </a:solidFill>
              </a:rPr>
              <a:t>Інноваційність</a:t>
            </a:r>
            <a:r>
              <a:rPr lang="uk-UA" sz="2000" b="1" i="1" u="sng" dirty="0" smtClean="0">
                <a:solidFill>
                  <a:srgbClr val="0070C0"/>
                </a:solidFill>
              </a:rPr>
              <a:t> </a:t>
            </a:r>
            <a:r>
              <a:rPr lang="uk-UA" sz="2000" b="1" i="1" u="sng" dirty="0">
                <a:solidFill>
                  <a:srgbClr val="0070C0"/>
                </a:solidFill>
              </a:rPr>
              <a:t>проекту.</a:t>
            </a:r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 smtClean="0"/>
              <a:t>5 балів </a:t>
            </a:r>
            <a:r>
              <a:rPr lang="uk-UA" i="1" dirty="0" smtClean="0"/>
              <a:t>– </a:t>
            </a:r>
            <a:r>
              <a:rPr lang="uk-UA" dirty="0" smtClean="0"/>
              <a:t>застосовуються традиційні підходи (технології)</a:t>
            </a:r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 smtClean="0"/>
              <a:t>10 </a:t>
            </a:r>
            <a:r>
              <a:rPr lang="uk-UA" b="1" i="1" dirty="0"/>
              <a:t>балів </a:t>
            </a:r>
            <a:r>
              <a:rPr lang="uk-UA" i="1" dirty="0"/>
              <a:t>– </a:t>
            </a:r>
            <a:r>
              <a:rPr lang="uk-UA" dirty="0"/>
              <a:t>підходи (технології</a:t>
            </a:r>
            <a:r>
              <a:rPr lang="uk-UA" dirty="0" smtClean="0"/>
              <a:t>) мають </a:t>
            </a:r>
            <a:r>
              <a:rPr lang="uk-UA" dirty="0"/>
              <a:t>аналоги в Україні, але відсутні в </a:t>
            </a:r>
            <a:r>
              <a:rPr lang="uk-UA" dirty="0" smtClean="0"/>
              <a:t>регіоні</a:t>
            </a:r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 smtClean="0"/>
              <a:t>15 </a:t>
            </a:r>
            <a:r>
              <a:rPr lang="uk-UA" b="1" i="1" dirty="0"/>
              <a:t>балів </a:t>
            </a:r>
            <a:r>
              <a:rPr lang="uk-UA" i="1" dirty="0"/>
              <a:t>– </a:t>
            </a:r>
            <a:r>
              <a:rPr lang="uk-UA" dirty="0"/>
              <a:t>підходи (технології) </a:t>
            </a:r>
            <a:r>
              <a:rPr lang="uk-UA" dirty="0" smtClean="0"/>
              <a:t>не </a:t>
            </a:r>
            <a:r>
              <a:rPr lang="uk-UA" dirty="0"/>
              <a:t>мають аналогів в Україні</a:t>
            </a:r>
          </a:p>
          <a:p>
            <a:pPr marL="1439863" indent="-1085850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/>
              <a:t>20 балів </a:t>
            </a:r>
            <a:r>
              <a:rPr lang="uk-UA" i="1" dirty="0"/>
              <a:t>– </a:t>
            </a:r>
            <a:r>
              <a:rPr lang="uk-UA" dirty="0"/>
              <a:t>відкриває </a:t>
            </a:r>
            <a:r>
              <a:rPr lang="uk-UA" dirty="0" smtClean="0"/>
              <a:t>можливості </a:t>
            </a:r>
            <a:r>
              <a:rPr lang="uk-UA" dirty="0"/>
              <a:t>для регіонального розвитку, створює «точки зростання» громади (регіону) у найближчій </a:t>
            </a:r>
            <a:r>
              <a:rPr lang="uk-UA" dirty="0" smtClean="0"/>
              <a:t>перспективі</a:t>
            </a:r>
            <a:endParaRPr lang="uk-UA" sz="2000" b="1" i="1" dirty="0" smtClean="0"/>
          </a:p>
        </p:txBody>
      </p:sp>
    </p:spTree>
    <p:extLst>
      <p:ext uri="{BB962C8B-B14F-4D97-AF65-F5344CB8AC3E}">
        <p14:creationId xmlns:p14="http://schemas.microsoft.com/office/powerpoint/2010/main" val="2747079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Rectangle 3"/>
          <p:cNvSpPr txBox="1">
            <a:spLocks noChangeArrowheads="1"/>
          </p:cNvSpPr>
          <p:nvPr/>
        </p:nvSpPr>
        <p:spPr>
          <a:xfrm>
            <a:off x="952124" y="352356"/>
            <a:ext cx="7671889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КРИТЕР</a:t>
            </a:r>
            <a:r>
              <a:rPr lang="uk-UA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ІЇ ОЦІНЮВАННЯ ПРОЕКТІВ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2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-304800" y="381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pic>
        <p:nvPicPr>
          <p:cNvPr id="97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22842"/>
            <a:ext cx="623914" cy="831885"/>
          </a:xfrm>
          <a:prstGeom prst="rect">
            <a:avLst/>
          </a:prstGeom>
        </p:spPr>
      </p:pic>
      <p:sp>
        <p:nvSpPr>
          <p:cNvPr id="98" name="Прямоугольник 2"/>
          <p:cNvSpPr/>
          <p:nvPr/>
        </p:nvSpPr>
        <p:spPr>
          <a:xfrm flipV="1">
            <a:off x="420620" y="953567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кутник 17"/>
          <p:cNvSpPr/>
          <p:nvPr/>
        </p:nvSpPr>
        <p:spPr>
          <a:xfrm>
            <a:off x="188349" y="2424953"/>
            <a:ext cx="3981611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uk-UA" sz="1300" strike="sngStrike" dirty="0">
              <a:solidFill>
                <a:srgbClr val="000000"/>
              </a:solidFill>
              <a:effectLst/>
              <a:latin typeface="+mj-lt"/>
              <a:ea typeface="Calibri" panose="020F0502020204030204" pitchFamily="34" charset="0"/>
            </a:endParaRPr>
          </a:p>
        </p:txBody>
      </p:sp>
      <p:sp>
        <p:nvSpPr>
          <p:cNvPr id="20" name="Прямокутник 19"/>
          <p:cNvSpPr/>
          <p:nvPr/>
        </p:nvSpPr>
        <p:spPr>
          <a:xfrm>
            <a:off x="405615" y="1023307"/>
            <a:ext cx="8400386" cy="464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uk-UA" sz="2000" b="1" i="1" u="sng" dirty="0" smtClean="0">
                <a:solidFill>
                  <a:srgbClr val="0070C0"/>
                </a:solidFill>
              </a:rPr>
              <a:t>Соціально-економічні </a:t>
            </a:r>
            <a:r>
              <a:rPr lang="uk-UA" sz="2000" b="1" i="1" u="sng" dirty="0">
                <a:solidFill>
                  <a:srgbClr val="0070C0"/>
                </a:solidFill>
              </a:rPr>
              <a:t>особливості </a:t>
            </a:r>
            <a:r>
              <a:rPr lang="uk-UA" sz="2000" b="1" i="1" u="sng" dirty="0" smtClean="0">
                <a:solidFill>
                  <a:srgbClr val="0070C0"/>
                </a:solidFill>
              </a:rPr>
              <a:t>проекту</a:t>
            </a:r>
          </a:p>
          <a:p>
            <a:pPr marL="354013">
              <a:spcBef>
                <a:spcPts val="600"/>
              </a:spcBef>
              <a:spcAft>
                <a:spcPts val="600"/>
              </a:spcAft>
            </a:pPr>
            <a:r>
              <a:rPr lang="uk-UA" sz="2000" b="1" i="1" dirty="0" smtClean="0"/>
              <a:t>5 </a:t>
            </a:r>
            <a:r>
              <a:rPr lang="uk-UA" sz="2000" b="1" i="1" dirty="0"/>
              <a:t>балів </a:t>
            </a:r>
            <a:r>
              <a:rPr lang="uk-UA" sz="2000" i="1" dirty="0"/>
              <a:t>- </a:t>
            </a:r>
            <a:r>
              <a:rPr lang="uk-UA" sz="2000" i="1" dirty="0" smtClean="0"/>
              <a:t> </a:t>
            </a:r>
            <a:r>
              <a:rPr lang="uk-UA" dirty="0" smtClean="0"/>
              <a:t>соціальний </a:t>
            </a:r>
            <a:r>
              <a:rPr lang="uk-UA" dirty="0"/>
              <a:t>(або екологічний) </a:t>
            </a:r>
            <a:r>
              <a:rPr lang="uk-UA" dirty="0" smtClean="0"/>
              <a:t>проект</a:t>
            </a:r>
          </a:p>
          <a:p>
            <a:pPr marL="1438275" indent="-1084263">
              <a:spcBef>
                <a:spcPts val="600"/>
              </a:spcBef>
              <a:spcAft>
                <a:spcPts val="600"/>
              </a:spcAft>
            </a:pPr>
            <a:r>
              <a:rPr lang="uk-UA" sz="2000" b="1" i="1" dirty="0" smtClean="0"/>
              <a:t>10 балів </a:t>
            </a:r>
            <a:r>
              <a:rPr lang="uk-UA" sz="2000" i="1" dirty="0"/>
              <a:t>- </a:t>
            </a:r>
            <a:r>
              <a:rPr lang="uk-UA" dirty="0" smtClean="0"/>
              <a:t>соціальний (або екологічний) проект зі створенням додаткових економічних </a:t>
            </a:r>
            <a:r>
              <a:rPr lang="ru-RU" dirty="0" smtClean="0"/>
              <a:t>благ</a:t>
            </a:r>
            <a:endParaRPr lang="uk-UA" dirty="0"/>
          </a:p>
          <a:p>
            <a:pPr marL="354013">
              <a:spcBef>
                <a:spcPts val="600"/>
              </a:spcBef>
              <a:spcAft>
                <a:spcPts val="600"/>
              </a:spcAft>
            </a:pPr>
            <a:r>
              <a:rPr lang="uk-UA" sz="2000" b="1" i="1" dirty="0"/>
              <a:t>15 балів </a:t>
            </a:r>
            <a:r>
              <a:rPr lang="uk-UA" sz="2000" i="1" dirty="0"/>
              <a:t>- </a:t>
            </a:r>
            <a:r>
              <a:rPr lang="uk-UA" dirty="0"/>
              <a:t>економічний проект із соціальною (або екологічною) складовою</a:t>
            </a:r>
          </a:p>
          <a:p>
            <a:pPr marL="354013">
              <a:spcBef>
                <a:spcPts val="600"/>
              </a:spcBef>
              <a:spcAft>
                <a:spcPts val="600"/>
              </a:spcAft>
            </a:pPr>
            <a:r>
              <a:rPr lang="uk-UA" sz="2000" b="1" i="1" dirty="0"/>
              <a:t>20 балів </a:t>
            </a:r>
            <a:r>
              <a:rPr lang="uk-UA" sz="2000" i="1" dirty="0"/>
              <a:t>- </a:t>
            </a:r>
            <a:r>
              <a:rPr lang="uk-UA" dirty="0"/>
              <a:t>економічний проект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uk-UA" sz="2000" b="1" i="1" u="sng" dirty="0" err="1" smtClean="0">
                <a:solidFill>
                  <a:srgbClr val="0070C0"/>
                </a:solidFill>
              </a:rPr>
              <a:t>Співфінансування</a:t>
            </a:r>
            <a:r>
              <a:rPr lang="uk-UA" sz="2000" b="1" i="1" u="sng" dirty="0" smtClean="0">
                <a:solidFill>
                  <a:srgbClr val="0070C0"/>
                </a:solidFill>
              </a:rPr>
              <a:t> з місцевих бюджетів</a:t>
            </a:r>
          </a:p>
          <a:p>
            <a:pPr marL="92075">
              <a:spcBef>
                <a:spcPts val="600"/>
              </a:spcBef>
              <a:spcAft>
                <a:spcPts val="600"/>
              </a:spcAft>
              <a:tabLst>
                <a:tab pos="177800" algn="l"/>
              </a:tabLst>
            </a:pPr>
            <a:r>
              <a:rPr lang="uk-UA" sz="1700" b="1" i="1" dirty="0" smtClean="0"/>
              <a:t>5 </a:t>
            </a:r>
            <a:r>
              <a:rPr lang="uk-UA" sz="1700" b="1" i="1" dirty="0"/>
              <a:t>балів </a:t>
            </a:r>
            <a:r>
              <a:rPr lang="uk-UA" sz="1700" i="1" dirty="0" smtClean="0"/>
              <a:t>–   понад 50% для спроможних бюджетів або понад 10 % для інших бюджетів  </a:t>
            </a:r>
          </a:p>
          <a:p>
            <a:pPr marL="92075">
              <a:spcBef>
                <a:spcPts val="600"/>
              </a:spcBef>
              <a:spcAft>
                <a:spcPts val="600"/>
              </a:spcAft>
              <a:tabLst>
                <a:tab pos="177800" algn="l"/>
              </a:tabLst>
            </a:pPr>
            <a:r>
              <a:rPr lang="uk-UA" sz="1700" b="1" i="1" dirty="0" smtClean="0"/>
              <a:t>10 </a:t>
            </a:r>
            <a:r>
              <a:rPr lang="uk-UA" sz="1700" b="1" i="1" dirty="0"/>
              <a:t>балів </a:t>
            </a:r>
            <a:r>
              <a:rPr lang="uk-UA" sz="1700" i="1" dirty="0" smtClean="0"/>
              <a:t>– </a:t>
            </a:r>
            <a:r>
              <a:rPr lang="uk-UA" sz="1700" i="1" dirty="0"/>
              <a:t>понад </a:t>
            </a:r>
            <a:r>
              <a:rPr lang="uk-UA" sz="1700" i="1" dirty="0" smtClean="0"/>
              <a:t>60</a:t>
            </a:r>
            <a:r>
              <a:rPr lang="uk-UA" sz="1700" i="1" dirty="0"/>
              <a:t>% для спроможних бюджетів або понад </a:t>
            </a:r>
            <a:r>
              <a:rPr lang="uk-UA" sz="1700" i="1" dirty="0" smtClean="0"/>
              <a:t>20 </a:t>
            </a:r>
            <a:r>
              <a:rPr lang="uk-UA" sz="1700" i="1" dirty="0"/>
              <a:t>% для інших бюджетів  </a:t>
            </a:r>
          </a:p>
          <a:p>
            <a:pPr marL="92075">
              <a:spcBef>
                <a:spcPts val="600"/>
              </a:spcBef>
              <a:spcAft>
                <a:spcPts val="600"/>
              </a:spcAft>
              <a:tabLst>
                <a:tab pos="177800" algn="l"/>
              </a:tabLst>
            </a:pPr>
            <a:r>
              <a:rPr lang="uk-UA" sz="1700" b="1" i="1" dirty="0" smtClean="0"/>
              <a:t>15 </a:t>
            </a:r>
            <a:r>
              <a:rPr lang="uk-UA" sz="1700" b="1" i="1" dirty="0"/>
              <a:t>балів </a:t>
            </a:r>
            <a:r>
              <a:rPr lang="uk-UA" sz="1700" i="1" dirty="0" smtClean="0"/>
              <a:t>– </a:t>
            </a:r>
            <a:r>
              <a:rPr lang="uk-UA" sz="1700" i="1" dirty="0"/>
              <a:t>понад </a:t>
            </a:r>
            <a:r>
              <a:rPr lang="uk-UA" sz="1700" i="1" dirty="0" smtClean="0"/>
              <a:t>70</a:t>
            </a:r>
            <a:r>
              <a:rPr lang="uk-UA" sz="1700" i="1" dirty="0"/>
              <a:t>% для спроможних бюджетів або понад </a:t>
            </a:r>
            <a:r>
              <a:rPr lang="uk-UA" sz="1700" i="1" dirty="0" smtClean="0"/>
              <a:t>30 </a:t>
            </a:r>
            <a:r>
              <a:rPr lang="uk-UA" sz="1700" i="1" dirty="0"/>
              <a:t>% для інших бюджетів  </a:t>
            </a:r>
          </a:p>
          <a:p>
            <a:pPr marL="92075">
              <a:spcBef>
                <a:spcPts val="600"/>
              </a:spcBef>
              <a:spcAft>
                <a:spcPts val="600"/>
              </a:spcAft>
              <a:tabLst>
                <a:tab pos="177800" algn="l"/>
              </a:tabLst>
            </a:pPr>
            <a:r>
              <a:rPr lang="uk-UA" sz="1700" b="1" i="1" dirty="0" smtClean="0"/>
              <a:t>20 балів </a:t>
            </a:r>
            <a:r>
              <a:rPr lang="uk-UA" sz="1700" i="1" dirty="0" smtClean="0"/>
              <a:t>– понад 80% для спроможних бюджетів або понад 40 % для інших бюджетів </a:t>
            </a:r>
            <a:endParaRPr lang="uk-UA" sz="1700" dirty="0" smtClean="0"/>
          </a:p>
        </p:txBody>
      </p:sp>
    </p:spTree>
    <p:extLst>
      <p:ext uri="{BB962C8B-B14F-4D97-AF65-F5344CB8AC3E}">
        <p14:creationId xmlns:p14="http://schemas.microsoft.com/office/powerpoint/2010/main" val="3420823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12</a:t>
            </a:fld>
            <a:endParaRPr lang="uk-UA" dirty="0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952124" y="352356"/>
            <a:ext cx="7671889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uk-UA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ВЗЯТИ З СОБОЮ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6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7" name="Прямоугольник 2"/>
          <p:cNvSpPr/>
          <p:nvPr/>
        </p:nvSpPr>
        <p:spPr>
          <a:xfrm flipV="1">
            <a:off x="381483" y="975376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683408" y="1124744"/>
            <a:ext cx="2160240" cy="36933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uk-UA" dirty="0" smtClean="0"/>
              <a:t>ЗАЯВНИКУ ПРОЕКТУ</a:t>
            </a:r>
            <a:endParaRPr lang="uk-UA" dirty="0"/>
          </a:p>
        </p:txBody>
      </p:sp>
      <p:sp>
        <p:nvSpPr>
          <p:cNvPr id="8" name="TextBox 7"/>
          <p:cNvSpPr txBox="1"/>
          <p:nvPr/>
        </p:nvSpPr>
        <p:spPr>
          <a:xfrm>
            <a:off x="713082" y="2647417"/>
            <a:ext cx="3168352" cy="36933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uk-UA" dirty="0" smtClean="0"/>
              <a:t>ЧЛЕНУ РЕГІОНАЛЬНОЇ КОМІСІЇ</a:t>
            </a:r>
            <a:endParaRPr lang="uk-UA" dirty="0"/>
          </a:p>
        </p:txBody>
      </p:sp>
      <p:sp>
        <p:nvSpPr>
          <p:cNvPr id="9" name="TextBox 8"/>
          <p:cNvSpPr txBox="1"/>
          <p:nvPr/>
        </p:nvSpPr>
        <p:spPr>
          <a:xfrm>
            <a:off x="755576" y="4248770"/>
            <a:ext cx="3168352" cy="36933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uk-UA" dirty="0" smtClean="0"/>
              <a:t>СЕКРЕТАРЮ КОМІСІЇ</a:t>
            </a:r>
            <a:endParaRPr lang="uk-UA" dirty="0"/>
          </a:p>
        </p:txBody>
      </p:sp>
      <p:sp>
        <p:nvSpPr>
          <p:cNvPr id="3" name="TextBox 2"/>
          <p:cNvSpPr txBox="1"/>
          <p:nvPr/>
        </p:nvSpPr>
        <p:spPr>
          <a:xfrm>
            <a:off x="693851" y="1494076"/>
            <a:ext cx="8208912" cy="1179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uk-UA" sz="1600" dirty="0" smtClean="0"/>
              <a:t>Детально описати проект, розповісти в описі про усі його переваги</a:t>
            </a:r>
          </a:p>
          <a:p>
            <a:pPr marL="342900" indent="-342900" algn="just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uk-UA" sz="1600" dirty="0" smtClean="0"/>
              <a:t>В описі проекту дати відповідь члену регіональної комісії на питання щодо критеріїв оцінки проекту</a:t>
            </a:r>
          </a:p>
          <a:p>
            <a:pPr marL="342900" indent="-342900" algn="just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uk-UA" sz="1600" dirty="0" smtClean="0"/>
              <a:t>Здійснювати супровід проекту на сайті </a:t>
            </a:r>
            <a:r>
              <a:rPr lang="en-US" sz="1600" dirty="0" smtClean="0"/>
              <a:t>dfrr.minregion.gov.ua</a:t>
            </a:r>
            <a:endParaRPr lang="uk-UA" sz="1600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727973" y="3068960"/>
            <a:ext cx="8136904" cy="1179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uk-UA" sz="1600" dirty="0" smtClean="0"/>
              <a:t>Здійснити неупереджену оцінку проекту</a:t>
            </a:r>
          </a:p>
          <a:p>
            <a:pPr marL="342900" indent="-342900" algn="just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uk-UA" sz="1600" dirty="0" smtClean="0"/>
              <a:t>Знайти в описі проекту відповіді на усі запитання щодо критеріїв його оцінювання</a:t>
            </a:r>
            <a:endParaRPr lang="en-US" sz="1600" dirty="0" smtClean="0"/>
          </a:p>
          <a:p>
            <a:pPr marL="342900" indent="-342900" algn="just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uk-UA" sz="1600" dirty="0" smtClean="0"/>
              <a:t>Стимулювати поширення інформації з сайту </a:t>
            </a:r>
            <a:r>
              <a:rPr lang="en-US" sz="1600" dirty="0" smtClean="0"/>
              <a:t>dfrr.minregion.gov.ua</a:t>
            </a:r>
            <a:r>
              <a:rPr lang="uk-UA" sz="1600" dirty="0" smtClean="0"/>
              <a:t> щодо відбору проектів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0981" y="4649017"/>
            <a:ext cx="8136904" cy="19184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uk-UA" sz="1600" dirty="0" smtClean="0"/>
              <a:t>Забезпечити об'єктивне оцінювання проектів експертами</a:t>
            </a:r>
          </a:p>
          <a:p>
            <a:pPr marL="342900" indent="-342900" algn="just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uk-UA" sz="1600" dirty="0" smtClean="0"/>
              <a:t>Вчасно та прозоро оприлюднити інформацію щодо перебігу конкурсного відбору та його результатів</a:t>
            </a:r>
          </a:p>
          <a:p>
            <a:pPr marL="342900" indent="-342900" algn="just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uk-UA" sz="1600" dirty="0" smtClean="0"/>
              <a:t>Забезпечити роботу щодо своєчасного розміщення на сайті </a:t>
            </a:r>
            <a:r>
              <a:rPr lang="en-US" sz="1600" dirty="0" smtClean="0"/>
              <a:t>dfrr.minregion.gov.ua</a:t>
            </a:r>
            <a:r>
              <a:rPr lang="uk-UA" sz="1600" dirty="0" smtClean="0"/>
              <a:t> усієї інформації відповідно до вимог законодавств, висвітлення та поширення даних щодо подій конкурсного відбору, його результатів та процесу впровадження відібраних проектів.</a:t>
            </a:r>
          </a:p>
        </p:txBody>
      </p:sp>
    </p:spTree>
    <p:extLst>
      <p:ext uri="{BB962C8B-B14F-4D97-AF65-F5344CB8AC3E}">
        <p14:creationId xmlns:p14="http://schemas.microsoft.com/office/powerpoint/2010/main" val="35124734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304790" y="1143026"/>
            <a:ext cx="116254" cy="237104"/>
          </a:xfrm>
          <a:prstGeom prst="rect">
            <a:avLst/>
          </a:prstGeom>
          <a:noFill/>
        </p:spPr>
        <p:txBody>
          <a:bodyPr wrap="none" lIns="57533" tIns="28791" rIns="57533" bIns="28791" rtlCol="0">
            <a:spAutoFit/>
          </a:bodyPr>
          <a:lstStyle/>
          <a:p>
            <a:pPr defTabSz="575321"/>
            <a:endParaRPr lang="uk-UA" sz="1163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4EB238-E5C8-4806-8CFE-7B153C4DC58A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878257" y="352356"/>
            <a:ext cx="7882731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201</a:t>
            </a:r>
            <a:r>
              <a:rPr lang="en-US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6</a:t>
            </a: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 РІК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12" name="Изображение 1" descr="minregion_logo_concep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13" name="Прямоугольник 2"/>
          <p:cNvSpPr/>
          <p:nvPr/>
        </p:nvSpPr>
        <p:spPr>
          <a:xfrm flipV="1">
            <a:off x="384352" y="966910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5" name="Таблиця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9565892"/>
              </p:ext>
            </p:extLst>
          </p:nvPr>
        </p:nvGraphicFramePr>
        <p:xfrm>
          <a:off x="281738" y="1023307"/>
          <a:ext cx="8637311" cy="5166294"/>
        </p:xfrm>
        <a:graphic>
          <a:graphicData uri="http://schemas.openxmlformats.org/drawingml/2006/table">
            <a:tbl>
              <a:tblPr firstRow="1" firstCol="1" bandRow="1"/>
              <a:tblGrid>
                <a:gridCol w="2206574"/>
                <a:gridCol w="1322173"/>
                <a:gridCol w="1322173"/>
                <a:gridCol w="1322173"/>
                <a:gridCol w="1232109"/>
                <a:gridCol w="1232109"/>
              </a:tblGrid>
              <a:tr h="261112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3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 </a:t>
                      </a:r>
                      <a:endParaRPr lang="uk-U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300" b="1">
                          <a:effectLst/>
                          <a:latin typeface="Arial"/>
                          <a:ea typeface="Calibri"/>
                          <a:cs typeface="Times New Roman"/>
                        </a:rPr>
                        <a:t>РОЗПОДІЛЕНО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</a:tr>
              <a:tr h="503574"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800">
                          <a:effectLst/>
                          <a:latin typeface="Arial"/>
                          <a:ea typeface="Calibri"/>
                          <a:cs typeface="Times New Roman"/>
                        </a:rPr>
                        <a:t>Розпорядженням № 362 від 11.05.16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800">
                          <a:effectLst/>
                          <a:latin typeface="Arial"/>
                          <a:ea typeface="Calibri"/>
                          <a:cs typeface="Times New Roman"/>
                        </a:rPr>
                        <a:t>Розпорядженням № 432 від 08.06.16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800">
                          <a:effectLst/>
                          <a:latin typeface="Arial"/>
                          <a:ea typeface="Calibri"/>
                          <a:cs typeface="Times New Roman"/>
                        </a:rPr>
                        <a:t>Розпорядженням № 480 від 13.07.16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800">
                          <a:effectLst/>
                          <a:latin typeface="Arial"/>
                          <a:ea typeface="Calibri"/>
                          <a:cs typeface="Times New Roman"/>
                        </a:rPr>
                        <a:t>Розпорядження № 797 від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800">
                          <a:effectLst/>
                          <a:latin typeface="Arial"/>
                          <a:ea typeface="Calibri"/>
                          <a:cs typeface="Times New Roman"/>
                        </a:rPr>
                        <a:t>02.11.2016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Всього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762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300">
                          <a:effectLst/>
                          <a:latin typeface="Arial"/>
                          <a:ea typeface="Calibri"/>
                          <a:cs typeface="Times New Roman"/>
                        </a:rPr>
                        <a:t>ОСВІТА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98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343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165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443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40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60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2 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проекти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7 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млн.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305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и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853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2222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300">
                          <a:effectLst/>
                          <a:latin typeface="Arial"/>
                          <a:ea typeface="Calibri"/>
                          <a:cs typeface="Times New Roman"/>
                        </a:rPr>
                        <a:t>ВОДОПОСТАЧАННЯ і ВОДОВІДВЕДЕННЯ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40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378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61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183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8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26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1 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проект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2 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млн.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109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588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2222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300">
                          <a:effectLst/>
                          <a:latin typeface="Arial"/>
                          <a:ea typeface="Calibri"/>
                          <a:cs typeface="Times New Roman"/>
                        </a:rPr>
                        <a:t>МЕДИЦИНА І СОЦЗАХИСТ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30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144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76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370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15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57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 dirty="0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3 </a:t>
                      </a:r>
                      <a:r>
                        <a:rPr lang="uk-UA" sz="1100" dirty="0" smtClean="0">
                          <a:effectLst/>
                          <a:latin typeface="Arial"/>
                          <a:ea typeface="Calibri"/>
                          <a:cs typeface="Times New Roman"/>
                        </a:rPr>
                        <a:t>проекти</a:t>
                      </a:r>
                      <a:endParaRPr lang="uk-U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 dirty="0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3 </a:t>
                      </a:r>
                      <a:r>
                        <a:rPr lang="uk-UA" sz="11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млн. грн</a:t>
                      </a:r>
                      <a:endParaRPr lang="uk-U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124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574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8333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300">
                          <a:effectLst/>
                          <a:latin typeface="Arial"/>
                          <a:ea typeface="Calibri"/>
                          <a:cs typeface="Times New Roman"/>
                        </a:rPr>
                        <a:t>ДОРОЖНЬО-ТРАНСПОРТНА інфраструктура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23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и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77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63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и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306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12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203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3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 </a:t>
                      </a:r>
                      <a:endParaRPr lang="uk-U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97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583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762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300">
                          <a:effectLst/>
                          <a:latin typeface="Arial"/>
                          <a:ea typeface="Calibri"/>
                          <a:cs typeface="Times New Roman"/>
                        </a:rPr>
                        <a:t>КУЛЬТУРА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11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20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30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132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4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и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20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300">
                          <a:effectLst/>
                          <a:latin typeface="Arial"/>
                          <a:ea typeface="Calibri"/>
                          <a:cs typeface="Times New Roman"/>
                        </a:rPr>
                        <a:t> 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45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172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8333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300">
                          <a:effectLst/>
                          <a:latin typeface="Arial"/>
                          <a:ea typeface="Calibri"/>
                          <a:cs typeface="Times New Roman"/>
                        </a:rPr>
                        <a:t>ГАЗ, ТЕПЛО,ЕНЕРГО- ПОСТАЧАННЯ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7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19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37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62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3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и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3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300">
                          <a:effectLst/>
                          <a:latin typeface="Arial"/>
                          <a:ea typeface="Calibri"/>
                          <a:cs typeface="Times New Roman"/>
                        </a:rPr>
                        <a:t> 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47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84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762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300">
                          <a:effectLst/>
                          <a:latin typeface="Arial"/>
                          <a:ea typeface="Calibri"/>
                          <a:cs typeface="Times New Roman"/>
                        </a:rPr>
                        <a:t>СПОРТ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2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и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9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10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24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3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и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22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300">
                          <a:effectLst/>
                          <a:latin typeface="Arial"/>
                          <a:ea typeface="Calibri"/>
                          <a:cs typeface="Times New Roman"/>
                        </a:rPr>
                        <a:t> 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15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55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762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3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ІНШЕ</a:t>
                      </a:r>
                      <a:endParaRPr lang="uk-U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8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20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26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49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5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12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2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и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4</a:t>
                      </a:r>
                      <a:r>
                        <a:rPr lang="uk-UA" sz="110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 dirty="0">
                          <a:solidFill>
                            <a:srgbClr val="548DD4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41</a:t>
                      </a:r>
                      <a:r>
                        <a:rPr lang="uk-UA" sz="11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 проектів</a:t>
                      </a:r>
                      <a:endParaRPr lang="uk-U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100" b="1" dirty="0">
                          <a:solidFill>
                            <a:srgbClr val="DA34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85</a:t>
                      </a:r>
                      <a:r>
                        <a:rPr lang="uk-UA" sz="11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 млн грн</a:t>
                      </a:r>
                      <a:endParaRPr lang="uk-U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936" marR="639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" name="Прямокутник 1"/>
          <p:cNvSpPr/>
          <p:nvPr/>
        </p:nvSpPr>
        <p:spPr>
          <a:xfrm>
            <a:off x="256338" y="6211669"/>
            <a:ext cx="8637311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/>
              <a:t>* </a:t>
            </a:r>
            <a:r>
              <a:rPr lang="uk-UA" sz="1200" dirty="0" smtClean="0"/>
              <a:t>розпорядженням від 02.11.2016 № 797 за пропозиціями регіонів з переліку виключено 1 проект водовідведення (1 млн.) та </a:t>
            </a:r>
            <a:br>
              <a:rPr lang="uk-UA" sz="1200" dirty="0" smtClean="0"/>
            </a:br>
            <a:r>
              <a:rPr lang="uk-UA" sz="1200" dirty="0" smtClean="0"/>
              <a:t>1 проект дорожньо-транспортної інфраструктури (2,8 млн.)</a:t>
            </a:r>
            <a:endParaRPr lang="uk-UA" sz="1200" dirty="0"/>
          </a:p>
        </p:txBody>
      </p:sp>
    </p:spTree>
    <p:extLst>
      <p:ext uri="{BB962C8B-B14F-4D97-AF65-F5344CB8AC3E}">
        <p14:creationId xmlns:p14="http://schemas.microsoft.com/office/powerpoint/2010/main" val="2879506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14</a:t>
            </a:fld>
            <a:endParaRPr lang="uk-UA" dirty="0"/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>
          <a:xfrm>
            <a:off x="878257" y="352356"/>
            <a:ext cx="7882731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201</a:t>
            </a:r>
            <a:r>
              <a:rPr lang="en-US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6</a:t>
            </a: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 РІК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8" name="Изображение 1" descr="minregion_logo_concept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7" y="876627"/>
            <a:ext cx="8456613" cy="128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" name="Об'є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77751063"/>
              </p:ext>
            </p:extLst>
          </p:nvPr>
        </p:nvGraphicFramePr>
        <p:xfrm>
          <a:off x="179388" y="995363"/>
          <a:ext cx="8796337" cy="5746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Аркуш" r:id="rId6" imgW="9343898" imgH="7048620" progId="Excel.Sheet.12">
                  <p:embed/>
                </p:oleObj>
              </mc:Choice>
              <mc:Fallback>
                <p:oleObj name="Аркуш" r:id="rId6" imgW="9343898" imgH="704862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9388" y="995363"/>
                        <a:ext cx="8796337" cy="5746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9062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номера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15</a:t>
            </a:fld>
            <a:endParaRPr lang="uk-UA" dirty="0"/>
          </a:p>
        </p:txBody>
      </p:sp>
      <p:sp>
        <p:nvSpPr>
          <p:cNvPr id="5" name="TextBox 4"/>
          <p:cNvSpPr txBox="1"/>
          <p:nvPr/>
        </p:nvSpPr>
        <p:spPr>
          <a:xfrm>
            <a:off x="683568" y="1556792"/>
            <a:ext cx="8280920" cy="298543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endParaRPr lang="uk-UA" sz="4000" b="1" dirty="0" smtClean="0">
              <a:solidFill>
                <a:srgbClr val="1D89CB"/>
              </a:solidFill>
            </a:endParaRPr>
          </a:p>
          <a:p>
            <a:pPr algn="ctr"/>
            <a:r>
              <a:rPr lang="uk-UA" sz="5400" b="1" dirty="0" smtClean="0">
                <a:solidFill>
                  <a:srgbClr val="1D89CB"/>
                </a:solidFill>
              </a:rPr>
              <a:t>ДЯКУЮ ЗА УВАГУ !</a:t>
            </a:r>
          </a:p>
          <a:p>
            <a:pPr algn="ctr"/>
            <a:endParaRPr lang="uk-UA" sz="4000" b="1" dirty="0">
              <a:solidFill>
                <a:srgbClr val="1D89CB"/>
              </a:solidFill>
            </a:endParaRPr>
          </a:p>
          <a:p>
            <a:pPr algn="ctr"/>
            <a:r>
              <a:rPr lang="uk-UA" sz="5400" b="1" dirty="0" smtClean="0">
                <a:solidFill>
                  <a:srgbClr val="1D89CB"/>
                </a:solidFill>
                <a:sym typeface="Wingdings" panose="05000000000000000000" pitchFamily="2" charset="2"/>
              </a:rPr>
              <a:t></a:t>
            </a:r>
            <a:endParaRPr lang="uk-UA" sz="4000" b="1" dirty="0">
              <a:solidFill>
                <a:srgbClr val="1D89C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7583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4EB238-E5C8-4806-8CFE-7B153C4DC58A}" type="slidenum">
              <a:rPr lang="uk-UA" smtClean="0"/>
              <a:pPr/>
              <a:t>2</a:t>
            </a:fld>
            <a:endParaRPr lang="uk-UA" dirty="0"/>
          </a:p>
        </p:txBody>
      </p:sp>
      <p:pic>
        <p:nvPicPr>
          <p:cNvPr id="19" name="Изображение 1" descr="minregion_logo_concep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20" name="Прямоугольник 2"/>
          <p:cNvSpPr/>
          <p:nvPr/>
        </p:nvSpPr>
        <p:spPr>
          <a:xfrm flipV="1">
            <a:off x="390611" y="1052736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" name="Rectangle 3"/>
          <p:cNvSpPr txBox="1">
            <a:spLocks noChangeArrowheads="1"/>
          </p:cNvSpPr>
          <p:nvPr/>
        </p:nvSpPr>
        <p:spPr>
          <a:xfrm>
            <a:off x="952124" y="352356"/>
            <a:ext cx="7671889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НОРМАТИВНА БАЗА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7" name="Місце для вмісту 2"/>
          <p:cNvSpPr txBox="1">
            <a:spLocks/>
          </p:cNvSpPr>
          <p:nvPr/>
        </p:nvSpPr>
        <p:spPr>
          <a:xfrm>
            <a:off x="391755" y="1196752"/>
            <a:ext cx="8370378" cy="5184576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 algn="just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2200" b="1" i="1" dirty="0">
                <a:solidFill>
                  <a:schemeClr val="tx1"/>
                </a:solidFill>
              </a:rPr>
              <a:t>Стаття </a:t>
            </a:r>
            <a:r>
              <a:rPr lang="uk-UA" sz="2200" b="1" i="1" dirty="0" smtClean="0">
                <a:solidFill>
                  <a:schemeClr val="tx1"/>
                </a:solidFill>
              </a:rPr>
              <a:t>24</a:t>
            </a:r>
            <a:r>
              <a:rPr lang="uk-UA" sz="2200" b="1" i="1" baseline="30000" dirty="0" smtClean="0">
                <a:solidFill>
                  <a:schemeClr val="tx1"/>
                </a:solidFill>
              </a:rPr>
              <a:t>1</a:t>
            </a:r>
            <a:r>
              <a:rPr lang="uk-UA" sz="2200" b="1" i="1" dirty="0" smtClean="0">
                <a:solidFill>
                  <a:schemeClr val="tx1"/>
                </a:solidFill>
              </a:rPr>
              <a:t> </a:t>
            </a:r>
            <a:r>
              <a:rPr lang="uk-UA" sz="2200" b="1" i="1" dirty="0">
                <a:solidFill>
                  <a:schemeClr val="tx1"/>
                </a:solidFill>
              </a:rPr>
              <a:t>"</a:t>
            </a:r>
            <a:r>
              <a:rPr lang="uk-UA" sz="2200" b="1" i="1" dirty="0">
                <a:solidFill>
                  <a:srgbClr val="0070C0"/>
                </a:solidFill>
              </a:rPr>
              <a:t>Державний фонд регіонального розвитку</a:t>
            </a:r>
            <a:r>
              <a:rPr lang="uk-UA" sz="2200" b="1" i="1" dirty="0">
                <a:solidFill>
                  <a:schemeClr val="tx1"/>
                </a:solidFill>
              </a:rPr>
              <a:t>" Бюджетного кодексу </a:t>
            </a:r>
            <a:r>
              <a:rPr lang="uk-UA" sz="2200" b="1" i="1" dirty="0" smtClean="0">
                <a:solidFill>
                  <a:schemeClr val="tx1"/>
                </a:solidFill>
              </a:rPr>
              <a:t>України;</a:t>
            </a:r>
            <a:endParaRPr lang="uk-UA" sz="2200" b="1" i="1" dirty="0">
              <a:solidFill>
                <a:schemeClr val="tx1"/>
              </a:solidFill>
            </a:endParaRPr>
          </a:p>
          <a:p>
            <a:pPr marL="177800" indent="-177800" algn="just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2200" b="1" i="1" dirty="0">
                <a:solidFill>
                  <a:schemeClr val="tx1"/>
                </a:solidFill>
              </a:rPr>
              <a:t>Закон України "</a:t>
            </a:r>
            <a:r>
              <a:rPr lang="uk-UA" sz="2200" b="1" i="1" dirty="0">
                <a:solidFill>
                  <a:srgbClr val="0070C0"/>
                </a:solidFill>
              </a:rPr>
              <a:t>Про засади державної регіональної політики </a:t>
            </a:r>
            <a:r>
              <a:rPr lang="uk-UA" sz="2200" b="1" i="1" dirty="0" smtClean="0">
                <a:solidFill>
                  <a:schemeClr val="tx1"/>
                </a:solidFill>
              </a:rPr>
              <a:t>";</a:t>
            </a:r>
            <a:endParaRPr lang="uk-UA" sz="2200" b="1" i="1" dirty="0">
              <a:solidFill>
                <a:schemeClr val="tx1"/>
              </a:solidFill>
            </a:endParaRPr>
          </a:p>
          <a:p>
            <a:pPr marL="177800" indent="-177800" algn="just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2200" b="1" i="1" dirty="0">
                <a:solidFill>
                  <a:srgbClr val="0070C0"/>
                </a:solidFill>
              </a:rPr>
              <a:t>Державна стратегія </a:t>
            </a:r>
            <a:r>
              <a:rPr lang="uk-UA" sz="2200" b="1" i="1" dirty="0" smtClean="0">
                <a:solidFill>
                  <a:schemeClr val="tx1"/>
                </a:solidFill>
              </a:rPr>
              <a:t>регіонального розвитку України </a:t>
            </a:r>
            <a:r>
              <a:rPr lang="uk-UA" sz="2200" b="1" i="1" dirty="0">
                <a:solidFill>
                  <a:schemeClr val="tx1"/>
                </a:solidFill>
              </a:rPr>
              <a:t>на період до 2020 </a:t>
            </a:r>
            <a:r>
              <a:rPr lang="uk-UA" sz="2200" b="1" i="1" dirty="0" smtClean="0">
                <a:solidFill>
                  <a:schemeClr val="tx1"/>
                </a:solidFill>
              </a:rPr>
              <a:t>року;</a:t>
            </a:r>
            <a:endParaRPr lang="uk-UA" sz="2200" b="1" i="1" dirty="0">
              <a:solidFill>
                <a:schemeClr val="tx1"/>
              </a:solidFill>
            </a:endParaRPr>
          </a:p>
          <a:p>
            <a:pPr marL="177800" indent="-177800" algn="just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2200" b="1" i="1" dirty="0" smtClean="0">
                <a:solidFill>
                  <a:schemeClr val="tx1"/>
                </a:solidFill>
              </a:rPr>
              <a:t>Постанова </a:t>
            </a:r>
            <a:r>
              <a:rPr lang="uk-UA" sz="2200" b="1" i="1" dirty="0">
                <a:solidFill>
                  <a:schemeClr val="tx1"/>
                </a:solidFill>
              </a:rPr>
              <a:t>Кабінету Міністрів України </a:t>
            </a:r>
            <a:r>
              <a:rPr lang="uk-UA" sz="2200" b="1" i="1" dirty="0">
                <a:solidFill>
                  <a:srgbClr val="0070C0"/>
                </a:solidFill>
              </a:rPr>
              <a:t>від </a:t>
            </a:r>
            <a:r>
              <a:rPr lang="uk-UA" sz="2200" b="1" i="1" dirty="0" smtClean="0">
                <a:solidFill>
                  <a:srgbClr val="0070C0"/>
                </a:solidFill>
              </a:rPr>
              <a:t>18.03.2015 № </a:t>
            </a:r>
            <a:r>
              <a:rPr lang="uk-UA" sz="2200" b="1" i="1" dirty="0">
                <a:solidFill>
                  <a:srgbClr val="0070C0"/>
                </a:solidFill>
              </a:rPr>
              <a:t>196 </a:t>
            </a:r>
            <a:r>
              <a:rPr lang="uk-UA" sz="2200" b="1" i="1" dirty="0">
                <a:solidFill>
                  <a:schemeClr val="tx1"/>
                </a:solidFill>
              </a:rPr>
              <a:t>"Деякі питання державного фонду регіонального розвитку ";</a:t>
            </a:r>
          </a:p>
          <a:p>
            <a:pPr marL="177800" indent="-177800" algn="just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2200" b="1" i="1" dirty="0">
                <a:solidFill>
                  <a:schemeClr val="tx1"/>
                </a:solidFill>
              </a:rPr>
              <a:t>Наказ Міністерства регіонального розвитку, будівництва та житлово-комунального господарства "Питання підготовки, оцінки та відбору інвестиційних програм і проектів регіонального розвитку, що можуть реалізовуватися за рахунок коштів державного фонду регіонального розвитку" (</a:t>
            </a:r>
            <a:r>
              <a:rPr lang="uk-UA" sz="2200" b="1" i="1" dirty="0">
                <a:solidFill>
                  <a:srgbClr val="0070C0"/>
                </a:solidFill>
              </a:rPr>
              <a:t>№ 80, від 24 квітня 2015 </a:t>
            </a:r>
            <a:r>
              <a:rPr lang="uk-UA" sz="2200" b="1" i="1" dirty="0" smtClean="0">
                <a:solidFill>
                  <a:srgbClr val="0070C0"/>
                </a:solidFill>
              </a:rPr>
              <a:t>року зі змінами від 01.04.2016 № 80</a:t>
            </a:r>
            <a:r>
              <a:rPr lang="uk-UA" sz="2200" b="1" i="1" dirty="0" smtClean="0">
                <a:solidFill>
                  <a:schemeClr val="tx1"/>
                </a:solidFill>
              </a:rPr>
              <a:t>)</a:t>
            </a:r>
            <a:endParaRPr lang="uk-UA" sz="2200" b="1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03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390611" y="1196752"/>
            <a:ext cx="8296189" cy="5133713"/>
          </a:xfrm>
        </p:spPr>
        <p:txBody>
          <a:bodyPr>
            <a:spAutoFit/>
          </a:bodyPr>
          <a:lstStyle/>
          <a:p>
            <a:pPr marL="0" indent="355600" algn="just">
              <a:buNone/>
            </a:pPr>
            <a:r>
              <a:rPr lang="uk-UA" sz="2600" dirty="0" smtClean="0"/>
              <a:t>Обсяг коштів ДФРР </a:t>
            </a:r>
            <a:r>
              <a:rPr lang="uk-UA" sz="2600" b="1" dirty="0" smtClean="0">
                <a:solidFill>
                  <a:srgbClr val="0070C0"/>
                </a:solidFill>
              </a:rPr>
              <a:t>затверджується Законом України про Державний бюджет України </a:t>
            </a:r>
            <a:r>
              <a:rPr lang="uk-UA" sz="2600" dirty="0" smtClean="0"/>
              <a:t>на відповідний бюджетний період </a:t>
            </a:r>
            <a:r>
              <a:rPr lang="uk-UA" sz="2600" i="1" dirty="0" smtClean="0">
                <a:solidFill>
                  <a:srgbClr val="0070C0"/>
                </a:solidFill>
              </a:rPr>
              <a:t>(</a:t>
            </a:r>
            <a:r>
              <a:rPr lang="uk-UA" sz="2600" b="1" i="1" dirty="0" smtClean="0">
                <a:solidFill>
                  <a:srgbClr val="0070C0"/>
                </a:solidFill>
              </a:rPr>
              <a:t>не менше, ніж 1 відсоток </a:t>
            </a:r>
            <a:r>
              <a:rPr lang="uk-UA" sz="2600" i="1" dirty="0" smtClean="0">
                <a:solidFill>
                  <a:srgbClr val="0070C0"/>
                </a:solidFill>
              </a:rPr>
              <a:t>обсягу доходів загального фонду держбюджету</a:t>
            </a:r>
            <a:r>
              <a:rPr lang="ru-RU" sz="2600" i="1" dirty="0" smtClean="0">
                <a:solidFill>
                  <a:srgbClr val="0070C0"/>
                </a:solidFill>
              </a:rPr>
              <a:t>)</a:t>
            </a:r>
            <a:endParaRPr lang="uk-UA" sz="2600" i="1" dirty="0">
              <a:solidFill>
                <a:srgbClr val="0070C0"/>
              </a:solidFill>
            </a:endParaRPr>
          </a:p>
          <a:p>
            <a:pPr marL="0" indent="355600" algn="just">
              <a:buNone/>
            </a:pPr>
            <a:r>
              <a:rPr lang="uk-UA" sz="2600" dirty="0" smtClean="0"/>
              <a:t>Кошти ДФРР між обласними та Київською міською держадміністраціями розподіляються таким чином:</a:t>
            </a:r>
          </a:p>
          <a:p>
            <a:pPr marL="541338" indent="-185738" algn="just" fontAlgn="base"/>
            <a:r>
              <a:rPr lang="uk-UA" sz="2600" b="1" dirty="0" smtClean="0">
                <a:solidFill>
                  <a:srgbClr val="0070C0"/>
                </a:solidFill>
              </a:rPr>
              <a:t>80 %</a:t>
            </a:r>
            <a:r>
              <a:rPr lang="uk-UA" sz="2600" dirty="0" smtClean="0"/>
              <a:t> - відповідно до </a:t>
            </a:r>
            <a:r>
              <a:rPr lang="uk-UA" sz="2600" b="1" dirty="0" smtClean="0">
                <a:solidFill>
                  <a:srgbClr val="0070C0"/>
                </a:solidFill>
              </a:rPr>
              <a:t>чисельності</a:t>
            </a:r>
            <a:r>
              <a:rPr lang="uk-UA" sz="2600" dirty="0" smtClean="0">
                <a:solidFill>
                  <a:srgbClr val="0070C0"/>
                </a:solidFill>
              </a:rPr>
              <a:t> </a:t>
            </a:r>
            <a:r>
              <a:rPr lang="uk-UA" sz="2600" dirty="0" smtClean="0"/>
              <a:t>населення, яке проживає у відповідному регіоні;</a:t>
            </a:r>
          </a:p>
          <a:p>
            <a:pPr marL="541338" indent="-185738" algn="just" fontAlgn="base"/>
            <a:r>
              <a:rPr lang="uk-UA" sz="2600" b="1" dirty="0" smtClean="0">
                <a:solidFill>
                  <a:srgbClr val="0070C0"/>
                </a:solidFill>
              </a:rPr>
              <a:t>20 %</a:t>
            </a:r>
            <a:r>
              <a:rPr lang="uk-UA" sz="2600" dirty="0" smtClean="0">
                <a:solidFill>
                  <a:srgbClr val="0070C0"/>
                </a:solidFill>
              </a:rPr>
              <a:t> </a:t>
            </a:r>
            <a:r>
              <a:rPr lang="uk-UA" sz="2600" dirty="0" smtClean="0"/>
              <a:t>- відповідно до показника валового регіонального продукту в розрахунку на одну особу </a:t>
            </a:r>
            <a:r>
              <a:rPr lang="uk-UA" sz="2600" i="1" dirty="0" smtClean="0"/>
              <a:t>(</a:t>
            </a:r>
            <a:r>
              <a:rPr lang="uk-UA" sz="2600" i="1" dirty="0" smtClean="0">
                <a:solidFill>
                  <a:srgbClr val="0070C0"/>
                </a:solidFill>
              </a:rPr>
              <a:t>для регіонів, у яких цей показник </a:t>
            </a:r>
            <a:r>
              <a:rPr lang="uk-UA" sz="2600" b="1" i="1" dirty="0" smtClean="0">
                <a:solidFill>
                  <a:srgbClr val="0070C0"/>
                </a:solidFill>
              </a:rPr>
              <a:t>менше 75 відсотків </a:t>
            </a:r>
            <a:r>
              <a:rPr lang="uk-UA" sz="2600" i="1" dirty="0" smtClean="0">
                <a:solidFill>
                  <a:srgbClr val="0070C0"/>
                </a:solidFill>
              </a:rPr>
              <a:t>середнього показника по Україні</a:t>
            </a:r>
            <a:r>
              <a:rPr lang="uk-UA" sz="2600" i="1" dirty="0" smtClean="0"/>
              <a:t>)</a:t>
            </a:r>
            <a:endParaRPr lang="uk-UA" sz="2600" i="1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3</a:t>
            </a:fld>
            <a:endParaRPr lang="uk-UA" dirty="0"/>
          </a:p>
        </p:txBody>
      </p:sp>
      <p:pic>
        <p:nvPicPr>
          <p:cNvPr id="10" name="Изображение 1" descr="minregion_logo_concep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11" name="Прямоугольник 2"/>
          <p:cNvSpPr/>
          <p:nvPr/>
        </p:nvSpPr>
        <p:spPr>
          <a:xfrm flipV="1">
            <a:off x="390611" y="1052736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>
          <a:xfrm>
            <a:off x="952124" y="352356"/>
            <a:ext cx="7671889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СХЕМА РОЗПОДІЛУ ЗА РЕГІОНАМИ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67941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9" name="Прямоугольник 2"/>
          <p:cNvSpPr/>
          <p:nvPr/>
        </p:nvSpPr>
        <p:spPr>
          <a:xfrm flipV="1">
            <a:off x="390611" y="1052736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4</a:t>
            </a:fld>
            <a:endParaRPr lang="uk-UA" dirty="0"/>
          </a:p>
        </p:txBody>
      </p:sp>
      <p:sp>
        <p:nvSpPr>
          <p:cNvPr id="2" name="Прямокутник 1"/>
          <p:cNvSpPr/>
          <p:nvPr/>
        </p:nvSpPr>
        <p:spPr>
          <a:xfrm>
            <a:off x="390610" y="1098003"/>
            <a:ext cx="8370377" cy="5447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sz="3200" b="1" u="sng" dirty="0" smtClean="0"/>
              <a:t>Інвестиційні програми і проекти повинні відповідати одній з таких умов:</a:t>
            </a:r>
          </a:p>
          <a:p>
            <a:pPr algn="ctr"/>
            <a:endParaRPr lang="uk-UA" sz="1600" b="1" u="sng" dirty="0" smtClean="0"/>
          </a:p>
          <a:p>
            <a:pPr marL="342900" indent="-342900" algn="just">
              <a:buAutoNum type="arabicParenR"/>
            </a:pPr>
            <a:r>
              <a:rPr lang="uk-UA" dirty="0" smtClean="0"/>
              <a:t>відповідність пріоритетам, визначеним у Державній стратегії регіонального розвитку, </a:t>
            </a:r>
            <a:r>
              <a:rPr lang="uk-UA" b="1" dirty="0" smtClean="0"/>
              <a:t>стратегіях розвитку регіонів та планам заходів з їх реалізації</a:t>
            </a:r>
          </a:p>
          <a:p>
            <a:pPr algn="just"/>
            <a:r>
              <a:rPr lang="uk-UA" b="1" i="1" dirty="0" smtClean="0">
                <a:solidFill>
                  <a:srgbClr val="FF0000"/>
                </a:solidFill>
              </a:rPr>
              <a:t>	</a:t>
            </a:r>
            <a:r>
              <a:rPr lang="uk-UA" b="1" i="1" dirty="0" smtClean="0">
                <a:solidFill>
                  <a:srgbClr val="0070C0"/>
                </a:solidFill>
              </a:rPr>
              <a:t>Затверджена регіональна стратегія розвитку до 2020 року, 	затверджений план заходів  з реалізації регіональної стратегії 	регіонального розвитку</a:t>
            </a:r>
          </a:p>
          <a:p>
            <a:pPr algn="just"/>
            <a:endParaRPr lang="uk-UA" dirty="0" smtClean="0"/>
          </a:p>
          <a:p>
            <a:pPr algn="just"/>
            <a:r>
              <a:rPr lang="uk-UA" dirty="0" smtClean="0"/>
              <a:t>2) впровадження інвестиційних програм і проектів як проектів  </a:t>
            </a:r>
            <a:r>
              <a:rPr lang="uk-UA" b="1" dirty="0" smtClean="0"/>
              <a:t>співробітництва </a:t>
            </a:r>
            <a:r>
              <a:rPr lang="uk-UA" dirty="0" smtClean="0"/>
              <a:t>територіальних громад</a:t>
            </a:r>
          </a:p>
          <a:p>
            <a:pPr algn="just"/>
            <a:r>
              <a:rPr lang="uk-UA" b="1" i="1" dirty="0" smtClean="0">
                <a:solidFill>
                  <a:srgbClr val="FF0000"/>
                </a:solidFill>
              </a:rPr>
              <a:t>	</a:t>
            </a:r>
            <a:r>
              <a:rPr lang="uk-UA" b="1" i="1" dirty="0" smtClean="0">
                <a:solidFill>
                  <a:srgbClr val="0070C0"/>
                </a:solidFill>
              </a:rPr>
              <a:t>Договір про співробітництво територіальних громад, </a:t>
            </a:r>
            <a:r>
              <a:rPr lang="uk-UA" b="1" i="1" dirty="0">
                <a:solidFill>
                  <a:srgbClr val="0070C0"/>
                </a:solidFill>
              </a:rPr>
              <a:t>внесений у </a:t>
            </a:r>
            <a:r>
              <a:rPr lang="uk-UA" b="1" i="1" dirty="0" smtClean="0">
                <a:solidFill>
                  <a:srgbClr val="0070C0"/>
                </a:solidFill>
              </a:rPr>
              <a:t>	реєстр </a:t>
            </a:r>
            <a:r>
              <a:rPr lang="uk-UA" b="1" i="1" dirty="0">
                <a:solidFill>
                  <a:srgbClr val="0070C0"/>
                </a:solidFill>
              </a:rPr>
              <a:t>договорів про співробітництво територіальних громад</a:t>
            </a:r>
          </a:p>
          <a:p>
            <a:pPr algn="just"/>
            <a:endParaRPr lang="uk-UA" dirty="0" smtClean="0">
              <a:solidFill>
                <a:srgbClr val="0070C0"/>
              </a:solidFill>
            </a:endParaRPr>
          </a:p>
          <a:p>
            <a:pPr algn="just"/>
            <a:r>
              <a:rPr lang="uk-UA" dirty="0" smtClean="0"/>
              <a:t>3) підтримка</a:t>
            </a:r>
            <a:r>
              <a:rPr lang="uk-UA" b="1" dirty="0" smtClean="0"/>
              <a:t> добровільно об’єднаних територіальних громад</a:t>
            </a:r>
            <a:endParaRPr lang="uk-UA" dirty="0" smtClean="0"/>
          </a:p>
          <a:p>
            <a:pPr algn="just"/>
            <a:r>
              <a:rPr lang="uk-UA" b="1" i="1" dirty="0" smtClean="0">
                <a:solidFill>
                  <a:srgbClr val="FF0000"/>
                </a:solidFill>
              </a:rPr>
              <a:t>	</a:t>
            </a:r>
            <a:r>
              <a:rPr lang="uk-UA" b="1" i="1" dirty="0" smtClean="0">
                <a:solidFill>
                  <a:srgbClr val="0070C0"/>
                </a:solidFill>
              </a:rPr>
              <a:t>Добровільно об’єднані територіальні громади, внесені до державного 	реєстру як юридичні особи публічного права</a:t>
            </a:r>
          </a:p>
          <a:p>
            <a:pPr algn="ctr"/>
            <a:endParaRPr lang="uk-UA" sz="1600" b="1" u="sng" dirty="0" smtClean="0">
              <a:solidFill>
                <a:srgbClr val="0070C0"/>
              </a:solidFill>
            </a:endParaRPr>
          </a:p>
        </p:txBody>
      </p:sp>
      <p:sp>
        <p:nvSpPr>
          <p:cNvPr id="5" name="Прямокутник 4"/>
          <p:cNvSpPr/>
          <p:nvPr/>
        </p:nvSpPr>
        <p:spPr>
          <a:xfrm>
            <a:off x="971600" y="376531"/>
            <a:ext cx="7715200" cy="46166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tabLst>
                <a:tab pos="879279" algn="l"/>
              </a:tabLst>
            </a:pPr>
            <a:r>
              <a:rPr lang="uk-UA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УМОВИ ФІНАНСУВАННЯ ПРОЕКТІВ</a:t>
            </a:r>
            <a:endParaRPr lang="uk-UA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0159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9" name="Прямоугольник 2"/>
          <p:cNvSpPr/>
          <p:nvPr/>
        </p:nvSpPr>
        <p:spPr>
          <a:xfrm flipV="1">
            <a:off x="390611" y="1052736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5</a:t>
            </a:fld>
            <a:endParaRPr lang="uk-UA" dirty="0"/>
          </a:p>
        </p:txBody>
      </p:sp>
      <p:sp>
        <p:nvSpPr>
          <p:cNvPr id="2" name="Прямокутник 1"/>
          <p:cNvSpPr/>
          <p:nvPr/>
        </p:nvSpPr>
        <p:spPr>
          <a:xfrm>
            <a:off x="390611" y="1098003"/>
            <a:ext cx="8370378" cy="48705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sz="2200" b="1" u="sng" dirty="0" smtClean="0">
                <a:solidFill>
                  <a:srgbClr val="0070C0"/>
                </a:solidFill>
              </a:rPr>
              <a:t>Основними умовами </a:t>
            </a:r>
            <a:r>
              <a:rPr lang="uk-UA" sz="2200" u="sng" dirty="0" smtClean="0">
                <a:solidFill>
                  <a:srgbClr val="0070C0"/>
                </a:solidFill>
              </a:rPr>
              <a:t>відбору регіональною комісією інвестиційних програм і проектів є їх відповідність таким критеріям:</a:t>
            </a:r>
          </a:p>
          <a:p>
            <a:pPr algn="ctr"/>
            <a:endParaRPr lang="uk-UA" sz="1400" b="1" u="sng" dirty="0" smtClean="0"/>
          </a:p>
          <a:p>
            <a:pPr algn="just">
              <a:spcAft>
                <a:spcPts val="1200"/>
              </a:spcAft>
            </a:pPr>
            <a:r>
              <a:rPr lang="uk-UA" sz="2000" dirty="0" smtClean="0"/>
              <a:t>1) для інвестиційних програм і проектів, які передбачають будівництво,  - наявність затвердженої в установленому законодавством порядку </a:t>
            </a:r>
            <a:r>
              <a:rPr lang="uk-UA" sz="2000" b="1" dirty="0" smtClean="0"/>
              <a:t>проектної документації</a:t>
            </a:r>
            <a:r>
              <a:rPr lang="uk-UA" sz="2000" dirty="0" smtClean="0"/>
              <a:t>;</a:t>
            </a:r>
          </a:p>
          <a:p>
            <a:pPr algn="just">
              <a:spcAft>
                <a:spcPts val="1200"/>
              </a:spcAft>
            </a:pPr>
            <a:r>
              <a:rPr lang="uk-UA" sz="2000" dirty="0" smtClean="0"/>
              <a:t>2) календарний план реалізації становить від </a:t>
            </a:r>
            <a:r>
              <a:rPr lang="uk-UA" sz="2000" b="1" dirty="0" smtClean="0"/>
              <a:t>одного до трьох років</a:t>
            </a:r>
            <a:r>
              <a:rPr lang="uk-UA" sz="2000" dirty="0" smtClean="0"/>
              <a:t>;</a:t>
            </a:r>
          </a:p>
          <a:p>
            <a:pPr algn="just">
              <a:spcAft>
                <a:spcPts val="1200"/>
              </a:spcAft>
            </a:pPr>
            <a:r>
              <a:rPr lang="uk-UA" sz="2000" dirty="0" smtClean="0"/>
              <a:t>3) </a:t>
            </a:r>
            <a:r>
              <a:rPr lang="uk-UA" sz="2000" b="1" dirty="0" smtClean="0"/>
              <a:t>співфінансування</a:t>
            </a:r>
            <a:r>
              <a:rPr lang="uk-UA" sz="2000" dirty="0" smtClean="0"/>
              <a:t> з місцевих бюджетів на рівні 10 відсотків;</a:t>
            </a:r>
          </a:p>
          <a:p>
            <a:pPr algn="just">
              <a:spcAft>
                <a:spcPts val="1200"/>
              </a:spcAft>
            </a:pPr>
            <a:r>
              <a:rPr lang="uk-UA" sz="2000" dirty="0" smtClean="0"/>
              <a:t>4) спроможність заявників забезпечувати </a:t>
            </a:r>
            <a:r>
              <a:rPr lang="uk-UA" sz="2000" b="1" dirty="0" smtClean="0"/>
              <a:t>подальше власне фінансування</a:t>
            </a:r>
            <a:r>
              <a:rPr lang="uk-UA" sz="2000" dirty="0" smtClean="0"/>
              <a:t> або </a:t>
            </a:r>
            <a:r>
              <a:rPr lang="uk-UA" sz="2000" b="1" dirty="0" smtClean="0"/>
              <a:t>утримання</a:t>
            </a:r>
            <a:r>
              <a:rPr lang="uk-UA" sz="2000" dirty="0" smtClean="0"/>
              <a:t> об’єктів за рахунок коштів місцевих бюджетів.</a:t>
            </a:r>
          </a:p>
          <a:p>
            <a:pPr algn="just"/>
            <a:endParaRPr lang="uk-UA" sz="200" dirty="0" smtClean="0"/>
          </a:p>
          <a:p>
            <a:pPr algn="ctr"/>
            <a:r>
              <a:rPr lang="uk-UA" sz="2400" u="sng" dirty="0" smtClean="0">
                <a:solidFill>
                  <a:srgbClr val="0070C0"/>
                </a:solidFill>
              </a:rPr>
              <a:t>Заявниками проектів можуть бути:</a:t>
            </a:r>
          </a:p>
          <a:p>
            <a:pPr algn="ctr"/>
            <a:endParaRPr lang="uk-UA" sz="1050" u="sng" dirty="0" smtClean="0">
              <a:solidFill>
                <a:srgbClr val="0070C0"/>
              </a:solidFill>
            </a:endParaRPr>
          </a:p>
          <a:p>
            <a:pPr indent="627063" algn="just"/>
            <a:r>
              <a:rPr lang="uk-UA" b="1" i="1" dirty="0" smtClean="0"/>
              <a:t>Місцеві </a:t>
            </a:r>
            <a:r>
              <a:rPr lang="uk-UA" b="1" i="1" dirty="0"/>
              <a:t>і центральні органи виконавчої влади</a:t>
            </a:r>
            <a:r>
              <a:rPr lang="uk-UA" dirty="0"/>
              <a:t> та </a:t>
            </a:r>
            <a:r>
              <a:rPr lang="uk-UA" b="1" i="1" dirty="0"/>
              <a:t>органи місцевого </a:t>
            </a:r>
            <a:r>
              <a:rPr lang="uk-UA" b="1" i="1" dirty="0" smtClean="0"/>
              <a:t>самоврядування</a:t>
            </a:r>
            <a:r>
              <a:rPr lang="uk-UA" dirty="0" smtClean="0"/>
              <a:t>.</a:t>
            </a:r>
            <a:endParaRPr lang="uk-UA" dirty="0"/>
          </a:p>
        </p:txBody>
      </p:sp>
      <p:sp>
        <p:nvSpPr>
          <p:cNvPr id="5" name="Прямокутник 4"/>
          <p:cNvSpPr/>
          <p:nvPr/>
        </p:nvSpPr>
        <p:spPr>
          <a:xfrm>
            <a:off x="971600" y="376531"/>
            <a:ext cx="7715200" cy="46166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uk-UA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КРИТЕРІЇ ФІНАНСУВАННЯ ПРОЕКТІВ</a:t>
            </a:r>
            <a:endParaRPr lang="uk-UA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3453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Округлений прямокутник 26"/>
          <p:cNvSpPr/>
          <p:nvPr/>
        </p:nvSpPr>
        <p:spPr>
          <a:xfrm>
            <a:off x="6812694" y="1665691"/>
            <a:ext cx="2079786" cy="228516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uk-UA" sz="1200" dirty="0" smtClean="0">
              <a:solidFill>
                <a:schemeClr val="tx1"/>
              </a:solidFill>
            </a:endParaRPr>
          </a:p>
          <a:p>
            <a:pPr algn="ctr"/>
            <a:endParaRPr lang="uk-UA" sz="1200" dirty="0" smtClean="0">
              <a:solidFill>
                <a:schemeClr val="tx1"/>
              </a:solidFill>
            </a:endParaRPr>
          </a:p>
          <a:p>
            <a:pPr algn="ctr"/>
            <a:r>
              <a:rPr lang="uk-UA" sz="1400" dirty="0" smtClean="0">
                <a:solidFill>
                  <a:schemeClr val="tx1"/>
                </a:solidFill>
              </a:rPr>
              <a:t>За пропозиціями регіональних комісій формують узагальнений перелік </a:t>
            </a:r>
            <a:r>
              <a:rPr lang="uk-UA" sz="1400" dirty="0">
                <a:solidFill>
                  <a:schemeClr val="tx1"/>
                </a:solidFill>
              </a:rPr>
              <a:t>програм і проектів, </a:t>
            </a:r>
            <a:r>
              <a:rPr lang="uk-UA" sz="1400" dirty="0" smtClean="0">
                <a:solidFill>
                  <a:schemeClr val="tx1"/>
                </a:solidFill>
              </a:rPr>
              <a:t>подають </a:t>
            </a:r>
          </a:p>
          <a:p>
            <a:pPr algn="ctr"/>
            <a:endParaRPr lang="uk-UA" sz="1400" dirty="0" smtClean="0">
              <a:solidFill>
                <a:schemeClr val="tx1"/>
              </a:solidFill>
            </a:endParaRPr>
          </a:p>
          <a:p>
            <a:pPr algn="ctr"/>
            <a:r>
              <a:rPr lang="uk-UA" sz="1600" b="1" dirty="0" smtClean="0">
                <a:solidFill>
                  <a:schemeClr val="tx1"/>
                </a:solidFill>
              </a:rPr>
              <a:t>МІНРЕГІОНУ</a:t>
            </a:r>
          </a:p>
        </p:txBody>
      </p:sp>
      <p:sp>
        <p:nvSpPr>
          <p:cNvPr id="28" name="Округлений прямокутник 27"/>
          <p:cNvSpPr/>
          <p:nvPr/>
        </p:nvSpPr>
        <p:spPr>
          <a:xfrm>
            <a:off x="2222682" y="1655981"/>
            <a:ext cx="2261893" cy="230990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uk-UA" sz="1200" b="1" dirty="0" smtClean="0">
              <a:solidFill>
                <a:schemeClr val="tx1"/>
              </a:solidFill>
            </a:endParaRPr>
          </a:p>
          <a:p>
            <a:pPr algn="ctr"/>
            <a:r>
              <a:rPr lang="uk-UA" sz="1600" b="1" dirty="0" smtClean="0">
                <a:solidFill>
                  <a:schemeClr val="tx1"/>
                </a:solidFill>
              </a:rPr>
              <a:t>МІСЦЕВІ ТА </a:t>
            </a:r>
          </a:p>
          <a:p>
            <a:pPr algn="ctr"/>
            <a:r>
              <a:rPr lang="uk-UA" sz="1600" b="1" dirty="0" smtClean="0">
                <a:solidFill>
                  <a:schemeClr val="tx1"/>
                </a:solidFill>
              </a:rPr>
              <a:t>ЦЕНТРАЛЬНІ ОРГАНИ ВИКОНАВЧОЇ ВЛАДИ, ОМС </a:t>
            </a:r>
          </a:p>
          <a:p>
            <a:pPr algn="ctr"/>
            <a:r>
              <a:rPr lang="uk-UA" sz="1400" b="1" i="1" dirty="0" smtClean="0">
                <a:solidFill>
                  <a:srgbClr val="0070C0"/>
                </a:solidFill>
              </a:rPr>
              <a:t>Розміщують </a:t>
            </a:r>
            <a:r>
              <a:rPr lang="uk-UA" sz="1400" b="1" i="1" dirty="0">
                <a:solidFill>
                  <a:srgbClr val="0070C0"/>
                </a:solidFill>
              </a:rPr>
              <a:t>на </a:t>
            </a:r>
            <a:r>
              <a:rPr lang="uk-UA" sz="1400" b="1" i="1" dirty="0" smtClean="0">
                <a:solidFill>
                  <a:srgbClr val="0070C0"/>
                </a:solidFill>
              </a:rPr>
              <a:t>онлайн-платформі та </a:t>
            </a:r>
            <a:r>
              <a:rPr lang="uk-UA" sz="1400" b="1" i="1" dirty="0">
                <a:solidFill>
                  <a:srgbClr val="0070C0"/>
                </a:solidFill>
              </a:rPr>
              <a:t>подають програми і проекти</a:t>
            </a:r>
          </a:p>
          <a:p>
            <a:pPr algn="ctr"/>
            <a:r>
              <a:rPr lang="uk-UA" sz="1600" b="1" dirty="0" smtClean="0">
                <a:solidFill>
                  <a:schemeClr val="tx1"/>
                </a:solidFill>
              </a:rPr>
              <a:t>РЕГІОНАЛЬНИМ КОМІСІЯМ</a:t>
            </a:r>
          </a:p>
        </p:txBody>
      </p:sp>
      <p:sp>
        <p:nvSpPr>
          <p:cNvPr id="7" name="Прямокутник 6"/>
          <p:cNvSpPr/>
          <p:nvPr/>
        </p:nvSpPr>
        <p:spPr>
          <a:xfrm>
            <a:off x="7307992" y="1716456"/>
            <a:ext cx="12413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sz="1600" b="1" dirty="0">
                <a:solidFill>
                  <a:prstClr val="black"/>
                </a:solidFill>
              </a:rPr>
              <a:t>ОДА, КМДА</a:t>
            </a:r>
          </a:p>
        </p:txBody>
      </p:sp>
      <p:sp>
        <p:nvSpPr>
          <p:cNvPr id="22" name="Округлений прямокутник 21"/>
          <p:cNvSpPr/>
          <p:nvPr/>
        </p:nvSpPr>
        <p:spPr>
          <a:xfrm>
            <a:off x="5043784" y="4484960"/>
            <a:ext cx="3272632" cy="1800199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uk-UA" sz="1400" dirty="0" smtClean="0">
              <a:solidFill>
                <a:schemeClr val="tx1"/>
              </a:solidFill>
            </a:endParaRPr>
          </a:p>
          <a:p>
            <a:pPr algn="ctr"/>
            <a:r>
              <a:rPr lang="uk-UA" sz="1400" b="1" dirty="0" smtClean="0">
                <a:solidFill>
                  <a:schemeClr val="tx1"/>
                </a:solidFill>
              </a:rPr>
              <a:t>МІНРЕГІОН</a:t>
            </a:r>
            <a:endParaRPr lang="en-US" sz="1400" b="1" dirty="0" smtClean="0">
              <a:solidFill>
                <a:schemeClr val="tx1"/>
              </a:solidFill>
            </a:endParaRPr>
          </a:p>
          <a:p>
            <a:pPr algn="ctr"/>
            <a:endParaRPr lang="en-US" sz="800" dirty="0" smtClean="0">
              <a:solidFill>
                <a:schemeClr val="tx1"/>
              </a:solidFill>
            </a:endParaRPr>
          </a:p>
          <a:p>
            <a:pPr algn="ctr"/>
            <a:r>
              <a:rPr lang="uk-UA" sz="1400" dirty="0" smtClean="0">
                <a:solidFill>
                  <a:schemeClr val="tx1"/>
                </a:solidFill>
              </a:rPr>
              <a:t>Подає пропозиції</a:t>
            </a:r>
            <a:r>
              <a:rPr lang="ru-RU" sz="1400" dirty="0" smtClean="0">
                <a:solidFill>
                  <a:schemeClr val="tx1"/>
                </a:solidFill>
              </a:rPr>
              <a:t> </a:t>
            </a:r>
            <a:r>
              <a:rPr lang="uk-UA" sz="1400" dirty="0" smtClean="0">
                <a:solidFill>
                  <a:schemeClr val="tx1"/>
                </a:solidFill>
              </a:rPr>
              <a:t>щодо</a:t>
            </a:r>
            <a:r>
              <a:rPr lang="ru-RU" sz="1400" dirty="0" smtClean="0">
                <a:solidFill>
                  <a:schemeClr val="tx1"/>
                </a:solidFill>
              </a:rPr>
              <a:t> </a:t>
            </a:r>
            <a:r>
              <a:rPr lang="uk-UA" sz="1400" dirty="0" smtClean="0">
                <a:solidFill>
                  <a:schemeClr val="tx1"/>
                </a:solidFill>
              </a:rPr>
              <a:t>розподілу  коштів ДФРР з переліком інвестиційних програм</a:t>
            </a:r>
            <a:r>
              <a:rPr lang="ru-RU" sz="1400" dirty="0" smtClean="0">
                <a:solidFill>
                  <a:schemeClr val="tx1"/>
                </a:solidFill>
              </a:rPr>
              <a:t> </a:t>
            </a:r>
            <a:r>
              <a:rPr lang="ru-RU" sz="1400" dirty="0">
                <a:solidFill>
                  <a:schemeClr val="tx1"/>
                </a:solidFill>
              </a:rPr>
              <a:t>і проектів регіонального </a:t>
            </a:r>
            <a:r>
              <a:rPr lang="ru-RU" sz="1400" dirty="0" smtClean="0">
                <a:solidFill>
                  <a:schemeClr val="tx1"/>
                </a:solidFill>
              </a:rPr>
              <a:t>розвитку </a:t>
            </a:r>
            <a:r>
              <a:rPr lang="uk-UA" sz="1400" dirty="0" smtClean="0">
                <a:solidFill>
                  <a:schemeClr val="tx1"/>
                </a:solidFill>
              </a:rPr>
              <a:t>на </a:t>
            </a:r>
            <a:r>
              <a:rPr lang="uk-UA" sz="1400" b="1" dirty="0" smtClean="0">
                <a:solidFill>
                  <a:schemeClr val="tx1"/>
                </a:solidFill>
              </a:rPr>
              <a:t>затвердження КМУ </a:t>
            </a:r>
            <a:r>
              <a:rPr lang="uk-UA" sz="1400" dirty="0" smtClean="0">
                <a:solidFill>
                  <a:schemeClr val="tx1"/>
                </a:solidFill>
              </a:rPr>
              <a:t>за </a:t>
            </a:r>
            <a:r>
              <a:rPr lang="uk-UA" sz="1400" b="1" dirty="0" smtClean="0">
                <a:solidFill>
                  <a:schemeClr val="tx1"/>
                </a:solidFill>
              </a:rPr>
              <a:t>погодженням з Комітетом </a:t>
            </a:r>
            <a:r>
              <a:rPr lang="uk-UA" sz="1400" dirty="0" smtClean="0">
                <a:solidFill>
                  <a:schemeClr val="tx1"/>
                </a:solidFill>
              </a:rPr>
              <a:t>ВРУ з питань бюджету</a:t>
            </a:r>
          </a:p>
          <a:p>
            <a:pPr algn="ctr"/>
            <a:endParaRPr lang="ru-RU" sz="1000" dirty="0" smtClean="0">
              <a:solidFill>
                <a:schemeClr val="tx1"/>
              </a:solidFill>
            </a:endParaRPr>
          </a:p>
        </p:txBody>
      </p:sp>
      <p:sp>
        <p:nvSpPr>
          <p:cNvPr id="21" name="Округлений прямокутник 20"/>
          <p:cNvSpPr/>
          <p:nvPr/>
        </p:nvSpPr>
        <p:spPr>
          <a:xfrm>
            <a:off x="952124" y="4484960"/>
            <a:ext cx="3200624" cy="1800199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marL="271463" algn="ctr"/>
            <a:r>
              <a:rPr lang="uk-UA" sz="1600" b="1" dirty="0" smtClean="0">
                <a:solidFill>
                  <a:schemeClr val="tx1"/>
                </a:solidFill>
              </a:rPr>
              <a:t>КОМІСІЯ ПРИ МІНРЕГІОНІ</a:t>
            </a:r>
          </a:p>
          <a:p>
            <a:pPr algn="ctr"/>
            <a:endParaRPr lang="uk-UA" sz="1100" b="1" dirty="0" smtClean="0">
              <a:solidFill>
                <a:schemeClr val="tx1"/>
              </a:solidFill>
            </a:endParaRPr>
          </a:p>
          <a:p>
            <a:pPr algn="ctr"/>
            <a:r>
              <a:rPr lang="uk-UA" dirty="0" smtClean="0">
                <a:solidFill>
                  <a:schemeClr val="tx1"/>
                </a:solidFill>
              </a:rPr>
              <a:t>Проводить перевірку поданих документів на відповідність законодавству</a:t>
            </a:r>
          </a:p>
          <a:p>
            <a:pPr algn="ctr"/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53" name="Стрілка вправо 52"/>
          <p:cNvSpPr/>
          <p:nvPr/>
        </p:nvSpPr>
        <p:spPr>
          <a:xfrm>
            <a:off x="4053317" y="5159249"/>
            <a:ext cx="1090861" cy="45162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Округлений прямокутник 15"/>
          <p:cNvSpPr/>
          <p:nvPr/>
        </p:nvSpPr>
        <p:spPr>
          <a:xfrm>
            <a:off x="4598747" y="1628954"/>
            <a:ext cx="2054320" cy="2297906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marL="271463" algn="ctr">
              <a:tabLst>
                <a:tab pos="271463" algn="l"/>
              </a:tabLst>
            </a:pPr>
            <a:r>
              <a:rPr lang="uk-UA" sz="1600" b="1" dirty="0" smtClean="0">
                <a:solidFill>
                  <a:schemeClr val="tx1"/>
                </a:solidFill>
              </a:rPr>
              <a:t>РЕГІОНАЛЬНІ КОМІСІЇ</a:t>
            </a:r>
            <a:endParaRPr lang="uk-UA" sz="1600" dirty="0">
              <a:solidFill>
                <a:schemeClr val="tx1"/>
              </a:solidFill>
            </a:endParaRPr>
          </a:p>
          <a:p>
            <a:pPr algn="ctr"/>
            <a:r>
              <a:rPr lang="uk-UA" sz="1400" dirty="0" smtClean="0">
                <a:solidFill>
                  <a:schemeClr val="tx1"/>
                </a:solidFill>
              </a:rPr>
              <a:t>Проводять відбір програм </a:t>
            </a:r>
            <a:r>
              <a:rPr lang="uk-UA" sz="1400" dirty="0">
                <a:solidFill>
                  <a:schemeClr val="tx1"/>
                </a:solidFill>
              </a:rPr>
              <a:t>та </a:t>
            </a:r>
            <a:r>
              <a:rPr lang="uk-UA" sz="1400" dirty="0" smtClean="0">
                <a:solidFill>
                  <a:schemeClr val="tx1"/>
                </a:solidFill>
              </a:rPr>
              <a:t>проектів та подають пропозиції </a:t>
            </a:r>
            <a:r>
              <a:rPr lang="uk-UA" sz="1400" dirty="0">
                <a:solidFill>
                  <a:schemeClr val="tx1"/>
                </a:solidFill>
              </a:rPr>
              <a:t>щодо формування </a:t>
            </a:r>
          </a:p>
          <a:p>
            <a:pPr algn="ctr"/>
            <a:r>
              <a:rPr lang="uk-UA" sz="1400" dirty="0" smtClean="0">
                <a:solidFill>
                  <a:schemeClr val="tx1"/>
                </a:solidFill>
              </a:rPr>
              <a:t>переліків </a:t>
            </a:r>
            <a:r>
              <a:rPr lang="uk-UA" sz="1400" dirty="0">
                <a:solidFill>
                  <a:schemeClr val="tx1"/>
                </a:solidFill>
              </a:rPr>
              <a:t>програм і проектів </a:t>
            </a:r>
            <a:r>
              <a:rPr lang="uk-UA" sz="1000" dirty="0" smtClean="0">
                <a:solidFill>
                  <a:schemeClr val="tx1"/>
                </a:solidFill>
              </a:rPr>
              <a:t/>
            </a:r>
            <a:br>
              <a:rPr lang="uk-UA" sz="1000" dirty="0" smtClean="0">
                <a:solidFill>
                  <a:schemeClr val="tx1"/>
                </a:solidFill>
              </a:rPr>
            </a:br>
            <a:r>
              <a:rPr lang="uk-UA" sz="1600" b="1" dirty="0" smtClean="0">
                <a:solidFill>
                  <a:schemeClr val="tx1"/>
                </a:solidFill>
              </a:rPr>
              <a:t>ОДА, КМДА</a:t>
            </a:r>
          </a:p>
        </p:txBody>
      </p:sp>
      <p:sp>
        <p:nvSpPr>
          <p:cNvPr id="18" name="Округлений прямокутник 17"/>
          <p:cNvSpPr/>
          <p:nvPr/>
        </p:nvSpPr>
        <p:spPr>
          <a:xfrm>
            <a:off x="107503" y="1628954"/>
            <a:ext cx="1964251" cy="232190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uk-UA" sz="1600" b="1" dirty="0" smtClean="0">
              <a:solidFill>
                <a:schemeClr val="tx1"/>
              </a:solidFill>
            </a:endParaRPr>
          </a:p>
          <a:p>
            <a:pPr algn="ctr"/>
            <a:r>
              <a:rPr lang="uk-UA" sz="1600" b="1" dirty="0" smtClean="0">
                <a:solidFill>
                  <a:schemeClr val="tx1"/>
                </a:solidFill>
              </a:rPr>
              <a:t>РЕГІОНАЛЬНІ КОМІСІЇ </a:t>
            </a:r>
            <a:r>
              <a:rPr lang="uk-UA" sz="1400" dirty="0" smtClean="0">
                <a:solidFill>
                  <a:schemeClr val="tx1"/>
                </a:solidFill>
              </a:rPr>
              <a:t>при обласних та Київській міській держадміністраціях</a:t>
            </a:r>
            <a:endParaRPr lang="uk-UA" sz="1400" dirty="0">
              <a:solidFill>
                <a:schemeClr val="tx1"/>
              </a:solidFill>
            </a:endParaRPr>
          </a:p>
          <a:p>
            <a:pPr lvl="0" algn="ctr"/>
            <a:endParaRPr lang="uk-UA" sz="1400" b="1" dirty="0" smtClean="0">
              <a:solidFill>
                <a:schemeClr val="tx1"/>
              </a:solidFill>
            </a:endParaRPr>
          </a:p>
          <a:p>
            <a:pPr lvl="0" algn="ctr"/>
            <a:r>
              <a:rPr lang="uk-UA" sz="1600" b="1" dirty="0" smtClean="0">
                <a:solidFill>
                  <a:schemeClr val="tx1"/>
                </a:solidFill>
              </a:rPr>
              <a:t>ОГОЛОШУЮТЬ КОНКУРС</a:t>
            </a:r>
            <a:endParaRPr lang="uk-UA" sz="1600" b="1" dirty="0">
              <a:solidFill>
                <a:schemeClr val="tx1"/>
              </a:solidFill>
            </a:endParaRPr>
          </a:p>
          <a:p>
            <a:pPr algn="ctr"/>
            <a:endParaRPr lang="uk-UA" sz="1400" b="1" dirty="0">
              <a:solidFill>
                <a:schemeClr val="tx1"/>
              </a:solidFill>
            </a:endParaRPr>
          </a:p>
        </p:txBody>
      </p:sp>
      <p:sp>
        <p:nvSpPr>
          <p:cNvPr id="48" name="Стрілка вправо 47"/>
          <p:cNvSpPr/>
          <p:nvPr/>
        </p:nvSpPr>
        <p:spPr>
          <a:xfrm>
            <a:off x="6617460" y="2495030"/>
            <a:ext cx="340006" cy="218843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0" name="Стрілка вправо 29"/>
          <p:cNvSpPr/>
          <p:nvPr/>
        </p:nvSpPr>
        <p:spPr>
          <a:xfrm>
            <a:off x="4359874" y="2565671"/>
            <a:ext cx="340006" cy="218843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4" name="Rectangle 3"/>
          <p:cNvSpPr txBox="1">
            <a:spLocks noChangeArrowheads="1"/>
          </p:cNvSpPr>
          <p:nvPr/>
        </p:nvSpPr>
        <p:spPr>
          <a:xfrm>
            <a:off x="952124" y="352356"/>
            <a:ext cx="7671889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МЕХАНІЗМ ФО</a:t>
            </a:r>
            <a:r>
              <a:rPr lang="uk-UA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РМУВАННЯ ПЕРЕЛІКІВ 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29" name="Изображение 1" descr="minregion_logo_concep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32" name="Прямоугольник 2"/>
          <p:cNvSpPr/>
          <p:nvPr/>
        </p:nvSpPr>
        <p:spPr>
          <a:xfrm flipV="1">
            <a:off x="390611" y="1052736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t>6</a:t>
            </a:fld>
            <a:endParaRPr lang="uk-UA" dirty="0"/>
          </a:p>
        </p:txBody>
      </p:sp>
      <p:sp>
        <p:nvSpPr>
          <p:cNvPr id="34" name="Стрілка вправо 33"/>
          <p:cNvSpPr/>
          <p:nvPr/>
        </p:nvSpPr>
        <p:spPr>
          <a:xfrm>
            <a:off x="2019896" y="2565672"/>
            <a:ext cx="340006" cy="218843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Блок-схема: вузол 7"/>
          <p:cNvSpPr/>
          <p:nvPr/>
        </p:nvSpPr>
        <p:spPr>
          <a:xfrm>
            <a:off x="358622" y="1628954"/>
            <a:ext cx="391451" cy="360040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uk-UA" dirty="0" smtClean="0"/>
              <a:t>І</a:t>
            </a:r>
            <a:endParaRPr lang="uk-UA" dirty="0"/>
          </a:p>
        </p:txBody>
      </p:sp>
      <p:sp>
        <p:nvSpPr>
          <p:cNvPr id="35" name="Блок-схема: вузол 34"/>
          <p:cNvSpPr/>
          <p:nvPr/>
        </p:nvSpPr>
        <p:spPr>
          <a:xfrm>
            <a:off x="2336412" y="1696710"/>
            <a:ext cx="432048" cy="416400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uk-UA" b="1" dirty="0" smtClean="0"/>
              <a:t>ІІ</a:t>
            </a:r>
            <a:endParaRPr lang="uk-UA" b="1" dirty="0"/>
          </a:p>
        </p:txBody>
      </p:sp>
      <p:sp>
        <p:nvSpPr>
          <p:cNvPr id="36" name="Блок-схема: вузол 35"/>
          <p:cNvSpPr/>
          <p:nvPr/>
        </p:nvSpPr>
        <p:spPr>
          <a:xfrm>
            <a:off x="4636504" y="1666790"/>
            <a:ext cx="507674" cy="446320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uk-UA" sz="1600" b="1" dirty="0" smtClean="0"/>
              <a:t>ІІІ</a:t>
            </a:r>
            <a:endParaRPr lang="uk-UA" sz="1600" b="1" dirty="0"/>
          </a:p>
        </p:txBody>
      </p:sp>
      <p:sp>
        <p:nvSpPr>
          <p:cNvPr id="37" name="Блок-схема: вузол 36"/>
          <p:cNvSpPr/>
          <p:nvPr/>
        </p:nvSpPr>
        <p:spPr>
          <a:xfrm>
            <a:off x="6843774" y="1716456"/>
            <a:ext cx="504055" cy="471540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500" b="1" dirty="0" smtClean="0"/>
              <a:t>IV</a:t>
            </a:r>
            <a:endParaRPr lang="uk-UA" sz="1500" b="1" dirty="0"/>
          </a:p>
        </p:txBody>
      </p:sp>
      <p:sp>
        <p:nvSpPr>
          <p:cNvPr id="38" name="Блок-схема: вузол 37"/>
          <p:cNvSpPr/>
          <p:nvPr/>
        </p:nvSpPr>
        <p:spPr>
          <a:xfrm>
            <a:off x="993044" y="4509120"/>
            <a:ext cx="504056" cy="484484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v</a:t>
            </a:r>
            <a:endParaRPr lang="uk-UA" sz="2400" b="1" dirty="0"/>
          </a:p>
        </p:txBody>
      </p:sp>
      <p:sp>
        <p:nvSpPr>
          <p:cNvPr id="39" name="Блок-схема: вузол 38"/>
          <p:cNvSpPr/>
          <p:nvPr/>
        </p:nvSpPr>
        <p:spPr>
          <a:xfrm>
            <a:off x="5060630" y="4511922"/>
            <a:ext cx="582510" cy="454657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VI</a:t>
            </a:r>
            <a:endParaRPr lang="uk-UA" b="1" dirty="0"/>
          </a:p>
        </p:txBody>
      </p:sp>
    </p:spTree>
    <p:extLst>
      <p:ext uri="{BB962C8B-B14F-4D97-AF65-F5344CB8AC3E}">
        <p14:creationId xmlns:p14="http://schemas.microsoft.com/office/powerpoint/2010/main" val="2210833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Изображение 1" descr="minregion_logo_concep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9" name="Прямоугольник 2"/>
          <p:cNvSpPr/>
          <p:nvPr/>
        </p:nvSpPr>
        <p:spPr>
          <a:xfrm flipV="1">
            <a:off x="390611" y="1052736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t>7</a:t>
            </a:fld>
            <a:endParaRPr lang="uk-UA" dirty="0"/>
          </a:p>
        </p:txBody>
      </p:sp>
      <p:sp>
        <p:nvSpPr>
          <p:cNvPr id="2" name="Прямокутник 1"/>
          <p:cNvSpPr/>
          <p:nvPr/>
        </p:nvSpPr>
        <p:spPr>
          <a:xfrm>
            <a:off x="390611" y="1312887"/>
            <a:ext cx="8296189" cy="4924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uk-UA" sz="1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. Регіональна </a:t>
            </a:r>
            <a:r>
              <a:rPr lang="uk-UA" sz="1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омісія </a:t>
            </a:r>
            <a:r>
              <a:rPr lang="uk-UA" sz="1900" b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голошує збір проектів</a:t>
            </a:r>
            <a:r>
              <a:rPr lang="uk-UA" sz="1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(на </a:t>
            </a:r>
            <a:r>
              <a:rPr lang="uk-UA" sz="1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айті)</a:t>
            </a:r>
          </a:p>
          <a:p>
            <a:pPr marL="342900" indent="-342900" algn="just">
              <a:buAutoNum type="arabicPeriod"/>
            </a:pPr>
            <a:endParaRPr lang="uk-UA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just"/>
            <a:r>
              <a:rPr lang="uk-UA" sz="1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. Заявники звертаються до </a:t>
            </a:r>
            <a:r>
              <a:rPr lang="uk-UA" sz="1900" b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егіонального </a:t>
            </a:r>
            <a:r>
              <a:rPr lang="uk-UA" sz="1900" b="1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адміністратора</a:t>
            </a:r>
            <a:r>
              <a:rPr lang="uk-UA" sz="1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uk-UA" sz="1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айту </a:t>
            </a:r>
            <a:r>
              <a:rPr lang="en-US" sz="1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ttp://dfrr.minregion.gov.ua </a:t>
            </a:r>
            <a:r>
              <a:rPr lang="uk-UA" sz="1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отримують </a:t>
            </a:r>
            <a:r>
              <a:rPr lang="uk-UA" sz="1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логін/пароль, вносять інформацію про </a:t>
            </a:r>
            <a:r>
              <a:rPr lang="uk-UA" sz="1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оект</a:t>
            </a:r>
          </a:p>
          <a:p>
            <a:pPr algn="just"/>
            <a:endParaRPr lang="uk-UA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just"/>
            <a:r>
              <a:rPr lang="uk-UA" sz="1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. </a:t>
            </a:r>
            <a:r>
              <a:rPr lang="uk-UA" sz="1900" b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Члени регіональної комісії </a:t>
            </a:r>
            <a:r>
              <a:rPr lang="uk-UA" sz="1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тримують логін/пароль </a:t>
            </a:r>
            <a:r>
              <a:rPr lang="uk-UA" sz="1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 </a:t>
            </a:r>
            <a:r>
              <a:rPr lang="uk-UA" sz="1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айті </a:t>
            </a:r>
            <a:r>
              <a:rPr lang="en-US" sz="1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http</a:t>
            </a:r>
            <a:r>
              <a:rPr lang="en-US" sz="1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//dfrr.minregion.gov.ua </a:t>
            </a:r>
            <a:r>
              <a:rPr lang="uk-UA" sz="1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і </a:t>
            </a:r>
            <a:r>
              <a:rPr lang="uk-UA" sz="1900" b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цінюють </a:t>
            </a:r>
            <a:r>
              <a:rPr lang="uk-UA" sz="1900" b="1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оекти</a:t>
            </a:r>
          </a:p>
          <a:p>
            <a:pPr algn="just"/>
            <a:endParaRPr lang="uk-UA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just"/>
            <a:r>
              <a:rPr lang="uk-UA" sz="1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. Регіональна комісія приймає </a:t>
            </a:r>
            <a:r>
              <a:rPr lang="uk-UA" sz="1900" b="1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ішення</a:t>
            </a:r>
          </a:p>
          <a:p>
            <a:pPr algn="just"/>
            <a:endParaRPr lang="uk-UA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just"/>
            <a:r>
              <a:rPr lang="uk-UA" sz="1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. </a:t>
            </a:r>
            <a:r>
              <a:rPr lang="uk-UA" sz="1900" b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ДА подає</a:t>
            </a:r>
            <a:r>
              <a:rPr lang="uk-UA" sz="1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перелік відібраних проектів у </a:t>
            </a:r>
            <a:r>
              <a:rPr lang="uk-UA" sz="1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Мінрегіон</a:t>
            </a:r>
          </a:p>
          <a:p>
            <a:pPr algn="just"/>
            <a:endParaRPr lang="uk-UA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just"/>
            <a:r>
              <a:rPr lang="uk-UA" sz="1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6. </a:t>
            </a:r>
            <a:r>
              <a:rPr lang="uk-UA" sz="1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Міжвідомча Конкурсна </a:t>
            </a:r>
            <a:r>
              <a:rPr lang="uk-UA" sz="1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омісія </a:t>
            </a:r>
            <a:r>
              <a:rPr lang="uk-UA" sz="1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и Мінрегіоні здійснює </a:t>
            </a:r>
            <a:r>
              <a:rPr lang="uk-UA" sz="1900" b="1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еревірку проектів на відповідність вимогам законодавства</a:t>
            </a:r>
            <a:endParaRPr lang="uk-UA" sz="19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just"/>
            <a:endParaRPr lang="uk-UA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just"/>
            <a:r>
              <a:rPr lang="uk-UA" sz="1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7. </a:t>
            </a:r>
            <a:r>
              <a:rPr lang="uk-UA" sz="1900" b="1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абмін затверджує </a:t>
            </a:r>
            <a:r>
              <a:rPr lang="uk-UA" sz="1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ереліки відібраних проектів за погодженням із </a:t>
            </a:r>
            <a:endParaRPr lang="uk-UA" sz="1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just"/>
            <a:r>
              <a:rPr lang="uk-UA" sz="1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Комітетом Верховної Ради України з питань бюджету</a:t>
            </a:r>
          </a:p>
          <a:p>
            <a:pPr algn="just"/>
            <a:endParaRPr lang="uk-UA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just"/>
            <a:r>
              <a:rPr lang="uk-UA" sz="19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8. </a:t>
            </a:r>
            <a:r>
              <a:rPr lang="uk-UA" sz="1900" b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Мінфін</a:t>
            </a:r>
            <a:r>
              <a:rPr lang="uk-UA" sz="1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спрямовує </a:t>
            </a:r>
            <a:r>
              <a:rPr lang="uk-UA" sz="1900" b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ошти </a:t>
            </a:r>
          </a:p>
        </p:txBody>
      </p:sp>
      <p:sp>
        <p:nvSpPr>
          <p:cNvPr id="5" name="Прямокутник 4"/>
          <p:cNvSpPr/>
          <p:nvPr/>
        </p:nvSpPr>
        <p:spPr>
          <a:xfrm>
            <a:off x="879084" y="376530"/>
            <a:ext cx="7807716" cy="46166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tabLst>
                <a:tab pos="879279" algn="l"/>
              </a:tabLst>
            </a:pPr>
            <a:r>
              <a:rPr lang="uk-UA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ЯК ПОДАТИ ПРОЕКТ</a:t>
            </a:r>
            <a:endParaRPr lang="uk-UA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998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8</a:t>
            </a:fld>
            <a:endParaRPr lang="uk-UA" dirty="0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952124" y="352356"/>
            <a:ext cx="7671889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uk-UA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РОБОТА РЕГІОНАЛЬНИХ КОМІСІЙ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6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7" name="Прямоугольник 2"/>
          <p:cNvSpPr/>
          <p:nvPr/>
        </p:nvSpPr>
        <p:spPr>
          <a:xfrm flipV="1">
            <a:off x="390611" y="1100058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Прямокутник 7"/>
          <p:cNvSpPr/>
          <p:nvPr/>
        </p:nvSpPr>
        <p:spPr>
          <a:xfrm>
            <a:off x="478868" y="1289521"/>
            <a:ext cx="819386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sz="2000" dirty="0" smtClean="0">
                <a:solidFill>
                  <a:srgbClr val="1D89CB"/>
                </a:solidFill>
              </a:rPr>
              <a:t>Основні </a:t>
            </a:r>
            <a:r>
              <a:rPr lang="uk-UA" sz="2000" b="1" u="sng" dirty="0" smtClean="0">
                <a:solidFill>
                  <a:srgbClr val="1D89CB"/>
                </a:solidFill>
              </a:rPr>
              <a:t>вимоги до організації підготовки, оцінки та відбору інвестиційних програм і проектів регіонального розвитку   </a:t>
            </a:r>
          </a:p>
        </p:txBody>
      </p:sp>
      <p:sp>
        <p:nvSpPr>
          <p:cNvPr id="11" name="Прямокутник 10"/>
          <p:cNvSpPr/>
          <p:nvPr/>
        </p:nvSpPr>
        <p:spPr>
          <a:xfrm>
            <a:off x="482594" y="1988840"/>
            <a:ext cx="819386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uk-UA" dirty="0" smtClean="0"/>
              <a:t>Секретар регіональної комісії, керівник відповідального підрозділу ОДА, забезпечує </a:t>
            </a:r>
            <a:r>
              <a:rPr lang="uk-UA" b="1" dirty="0"/>
              <a:t>своєчасне </a:t>
            </a:r>
            <a:r>
              <a:rPr lang="uk-UA" b="1" dirty="0" smtClean="0"/>
              <a:t>розміщення, опрацювання</a:t>
            </a:r>
            <a:r>
              <a:rPr lang="uk-UA" b="1" dirty="0"/>
              <a:t> </a:t>
            </a:r>
            <a:r>
              <a:rPr lang="uk-UA" b="1" dirty="0" smtClean="0"/>
              <a:t>та оцінювання проектів</a:t>
            </a:r>
            <a:r>
              <a:rPr lang="uk-UA" dirty="0" smtClean="0"/>
              <a:t>, наданих заявниками на платформу </a:t>
            </a:r>
            <a:r>
              <a:rPr lang="en-US" u="sng" dirty="0" smtClean="0">
                <a:solidFill>
                  <a:srgbClr val="1D89CB"/>
                </a:solidFill>
                <a:latin typeface="+mj-lt"/>
              </a:rPr>
              <a:t>dfrr.minregion</a:t>
            </a:r>
            <a:r>
              <a:rPr lang="uk-UA" u="sng" dirty="0" smtClean="0">
                <a:solidFill>
                  <a:srgbClr val="1D89CB"/>
                </a:solidFill>
                <a:latin typeface="+mj-lt"/>
              </a:rPr>
              <a:t>.</a:t>
            </a:r>
            <a:r>
              <a:rPr lang="en-US" u="sng" dirty="0" smtClean="0">
                <a:solidFill>
                  <a:srgbClr val="1D89CB"/>
                </a:solidFill>
                <a:latin typeface="+mj-lt"/>
              </a:rPr>
              <a:t>gov.ua</a:t>
            </a:r>
            <a:r>
              <a:rPr lang="uk-UA" u="sng" dirty="0" smtClean="0">
                <a:solidFill>
                  <a:srgbClr val="1D89CB"/>
                </a:solidFill>
                <a:latin typeface="+mj-lt"/>
              </a:rPr>
              <a:t> </a:t>
            </a:r>
          </a:p>
        </p:txBody>
      </p:sp>
      <p:sp>
        <p:nvSpPr>
          <p:cNvPr id="12" name="Прямокутник 11"/>
          <p:cNvSpPr/>
          <p:nvPr/>
        </p:nvSpPr>
        <p:spPr>
          <a:xfrm>
            <a:off x="478868" y="2996952"/>
            <a:ext cx="8193862" cy="461665"/>
          </a:xfrm>
          <a:prstGeom prst="rect">
            <a:avLst/>
          </a:prstGeom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uk-UA" sz="2400" b="1" dirty="0" smtClean="0"/>
              <a:t>Перше засідання </a:t>
            </a:r>
            <a:r>
              <a:rPr lang="uk-UA" sz="2400" dirty="0" smtClean="0"/>
              <a:t>– </a:t>
            </a:r>
            <a:r>
              <a:rPr lang="uk-UA" sz="2400" b="1" dirty="0" smtClean="0"/>
              <a:t>організаційне </a:t>
            </a:r>
          </a:p>
        </p:txBody>
      </p:sp>
      <p:sp>
        <p:nvSpPr>
          <p:cNvPr id="13" name="Округлений прямокутник 12"/>
          <p:cNvSpPr/>
          <p:nvPr/>
        </p:nvSpPr>
        <p:spPr>
          <a:xfrm>
            <a:off x="3419872" y="4005064"/>
            <a:ext cx="2448272" cy="2145842"/>
          </a:xfrm>
          <a:prstGeom prst="roundRect">
            <a:avLst/>
          </a:prstGeom>
          <a:noFill/>
          <a:ln w="952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b="1" dirty="0" smtClean="0">
                <a:solidFill>
                  <a:schemeClr val="tx1"/>
                </a:solidFill>
              </a:rPr>
              <a:t>ЗАКРІПЛЕННЯ ЕКСПЕРТІВ ЗА ПРОЕКТАМИ</a:t>
            </a:r>
          </a:p>
          <a:p>
            <a:pPr algn="ctr"/>
            <a:r>
              <a:rPr lang="uk-UA" sz="1600" dirty="0" smtClean="0">
                <a:solidFill>
                  <a:schemeClr val="tx1"/>
                </a:solidFill>
              </a:rPr>
              <a:t>з урахуванням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uk-UA" sz="1600" dirty="0" smtClean="0">
                <a:solidFill>
                  <a:schemeClr val="tx1"/>
                </a:solidFill>
              </a:rPr>
              <a:t>пропорційності та відсутності конфлікту інтересів</a:t>
            </a:r>
          </a:p>
        </p:txBody>
      </p:sp>
      <p:sp>
        <p:nvSpPr>
          <p:cNvPr id="14" name="Округлений прямокутник 13"/>
          <p:cNvSpPr/>
          <p:nvPr/>
        </p:nvSpPr>
        <p:spPr>
          <a:xfrm>
            <a:off x="6444208" y="4005064"/>
            <a:ext cx="2376264" cy="2145842"/>
          </a:xfrm>
          <a:prstGeom prst="roundRect">
            <a:avLst/>
          </a:prstGeom>
          <a:noFill/>
          <a:ln w="952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b="1" dirty="0" smtClean="0">
                <a:solidFill>
                  <a:schemeClr val="tx1"/>
                </a:solidFill>
              </a:rPr>
              <a:t>ПІДГОТОВКА ДО ЧЕРГОВОГО ЗАСІДАННЯ КОМІСІЇ</a:t>
            </a:r>
            <a:r>
              <a:rPr lang="uk-UA" sz="1600" b="1" dirty="0" smtClean="0">
                <a:solidFill>
                  <a:schemeClr val="tx1"/>
                </a:solidFill>
              </a:rPr>
              <a:t>, </a:t>
            </a:r>
            <a:r>
              <a:rPr lang="uk-UA" sz="1600" dirty="0" smtClean="0">
                <a:solidFill>
                  <a:schemeClr val="tx1"/>
                </a:solidFill>
              </a:rPr>
              <a:t>на якому буде сформовано рейтинг проектів</a:t>
            </a:r>
          </a:p>
        </p:txBody>
      </p:sp>
      <p:sp>
        <p:nvSpPr>
          <p:cNvPr id="15" name="Округлений прямокутник 14"/>
          <p:cNvSpPr/>
          <p:nvPr/>
        </p:nvSpPr>
        <p:spPr>
          <a:xfrm>
            <a:off x="255169" y="4005064"/>
            <a:ext cx="2660647" cy="2145842"/>
          </a:xfrm>
          <a:prstGeom prst="roundRect">
            <a:avLst/>
          </a:prstGeom>
          <a:noFill/>
          <a:ln w="952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b="1" dirty="0" smtClean="0">
                <a:solidFill>
                  <a:schemeClr val="tx1"/>
                </a:solidFill>
              </a:rPr>
              <a:t>РОЗ'ЯСНЕННЯ (ТЛУМАЧЕННЯ) </a:t>
            </a:r>
          </a:p>
          <a:p>
            <a:pPr algn="ctr"/>
            <a:r>
              <a:rPr lang="uk-UA" b="1" dirty="0" smtClean="0">
                <a:solidFill>
                  <a:schemeClr val="tx1"/>
                </a:solidFill>
              </a:rPr>
              <a:t>КРИТЕРІЇВ </a:t>
            </a:r>
            <a:r>
              <a:rPr lang="uk-UA" dirty="0" smtClean="0">
                <a:solidFill>
                  <a:schemeClr val="tx1"/>
                </a:solidFill>
              </a:rPr>
              <a:t>оцінювання проектів</a:t>
            </a:r>
          </a:p>
          <a:p>
            <a:pPr algn="ctr"/>
            <a:endParaRPr lang="uk-UA" sz="800" dirty="0" smtClean="0">
              <a:solidFill>
                <a:schemeClr val="tx1"/>
              </a:solidFill>
            </a:endParaRPr>
          </a:p>
          <a:p>
            <a:pPr algn="ctr"/>
            <a:r>
              <a:rPr lang="uk-UA" dirty="0" smtClean="0">
                <a:solidFill>
                  <a:schemeClr val="tx1"/>
                </a:solidFill>
              </a:rPr>
              <a:t>всі члени комісії мають розуміти критерії ОДНАКОВО</a:t>
            </a:r>
          </a:p>
          <a:p>
            <a:pPr algn="ctr"/>
            <a:endParaRPr lang="uk-UA" sz="1000" b="1" dirty="0" smtClean="0">
              <a:solidFill>
                <a:schemeClr val="tx1"/>
              </a:solidFill>
            </a:endParaRPr>
          </a:p>
        </p:txBody>
      </p:sp>
      <p:cxnSp>
        <p:nvCxnSpPr>
          <p:cNvPr id="18" name="Пряма зі стрілкою 17"/>
          <p:cNvCxnSpPr>
            <a:stCxn id="12" idx="2"/>
          </p:cNvCxnSpPr>
          <p:nvPr/>
        </p:nvCxnSpPr>
        <p:spPr>
          <a:xfrm flipH="1">
            <a:off x="4572000" y="3458617"/>
            <a:ext cx="3799" cy="5464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 зі стрілкою 18"/>
          <p:cNvCxnSpPr/>
          <p:nvPr/>
        </p:nvCxnSpPr>
        <p:spPr>
          <a:xfrm flipH="1">
            <a:off x="1619672" y="3455186"/>
            <a:ext cx="3799" cy="4744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 зі стрілкою 19"/>
          <p:cNvCxnSpPr/>
          <p:nvPr/>
        </p:nvCxnSpPr>
        <p:spPr>
          <a:xfrm flipH="1">
            <a:off x="7632340" y="3499428"/>
            <a:ext cx="3799" cy="4744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40878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9</a:t>
            </a:fld>
            <a:endParaRPr lang="uk-UA" dirty="0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952124" y="352356"/>
            <a:ext cx="7671889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uk-UA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РОБОТА РЕГІОНАЛЬНИХ КОМІСІЙ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6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7" name="Прямоугольник 2"/>
          <p:cNvSpPr/>
          <p:nvPr/>
        </p:nvSpPr>
        <p:spPr>
          <a:xfrm flipV="1">
            <a:off x="310915" y="977588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Округлений прямокутник 7"/>
          <p:cNvSpPr/>
          <p:nvPr/>
        </p:nvSpPr>
        <p:spPr>
          <a:xfrm>
            <a:off x="390612" y="1100058"/>
            <a:ext cx="8370377" cy="1275111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algn="ctr"/>
            <a:r>
              <a:rPr lang="uk-UA" sz="1600" b="1" dirty="0" smtClean="0">
                <a:solidFill>
                  <a:srgbClr val="002060"/>
                </a:solidFill>
              </a:rPr>
              <a:t>ОЦІНЮВАННЯ ЕКСПЕРТАМИ ПРОЕКТІВ ЗДІЙСНЮЄТЬСЯ ПІСЛЯ ОРГАНІЗАЦІЙНОГО ЗАСІДАННЯ КОМІСІЇ ДО ЗАСІДАННЯ, НА ЯКОМУ БУДЕ ЗАТВЕРДЖЕНО СФОРМОВАНИЙ РЕЙТИНГ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uk-UA" sz="1600" b="1" dirty="0">
                <a:solidFill>
                  <a:srgbClr val="0070C0"/>
                </a:solidFill>
              </a:rPr>
              <a:t>СЕКРЕТАР КОМІСІЇ ЗАБЕЗПЕЧУЄ ПОПЕРЕДЖЕННЯ  КОНФЛІКТІВ ІНТЕРЕСІВ МІЖ ЧЛЕНАМИ КОМІСІЇ ТА </a:t>
            </a:r>
            <a:r>
              <a:rPr lang="uk-UA" sz="1600" b="1" dirty="0" smtClean="0">
                <a:solidFill>
                  <a:srgbClr val="0070C0"/>
                </a:solidFill>
              </a:rPr>
              <a:t>ЗАЯВНИКАМИ</a:t>
            </a:r>
            <a:endParaRPr lang="uk-UA" sz="1600" b="1" dirty="0">
              <a:solidFill>
                <a:srgbClr val="0070C0"/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uk-UA" sz="1600" b="1" dirty="0" smtClean="0">
              <a:solidFill>
                <a:srgbClr val="1D89CB"/>
              </a:solidFill>
            </a:endParaRPr>
          </a:p>
        </p:txBody>
      </p:sp>
      <p:sp>
        <p:nvSpPr>
          <p:cNvPr id="11" name="Округлений прямокутник 10"/>
          <p:cNvSpPr/>
          <p:nvPr/>
        </p:nvSpPr>
        <p:spPr>
          <a:xfrm>
            <a:off x="383289" y="2276872"/>
            <a:ext cx="8370376" cy="1557887"/>
          </a:xfrm>
          <a:prstGeom prst="round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spcAft>
                <a:spcPts val="1200"/>
              </a:spcAft>
            </a:pPr>
            <a:r>
              <a:rPr lang="uk-UA" b="1" u="sng" dirty="0" smtClean="0">
                <a:solidFill>
                  <a:srgbClr val="C00000"/>
                </a:solidFill>
              </a:rPr>
              <a:t>Члени комісії не можуть:</a:t>
            </a:r>
          </a:p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uk-UA" dirty="0" smtClean="0">
                <a:solidFill>
                  <a:srgbClr val="C00000"/>
                </a:solidFill>
              </a:rPr>
              <a:t> бути заявниками проектів;</a:t>
            </a:r>
          </a:p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uk-UA" dirty="0" smtClean="0">
                <a:solidFill>
                  <a:srgbClr val="C00000"/>
                </a:solidFill>
              </a:rPr>
              <a:t>оцінювати проекти, щодо яких може виникнути питання про об'єктивність чи неупередженість прийняття рішень.</a:t>
            </a:r>
          </a:p>
        </p:txBody>
      </p:sp>
      <p:sp>
        <p:nvSpPr>
          <p:cNvPr id="9" name="Прямокутник 8"/>
          <p:cNvSpPr/>
          <p:nvPr/>
        </p:nvSpPr>
        <p:spPr>
          <a:xfrm>
            <a:off x="371324" y="3933056"/>
            <a:ext cx="8370377" cy="2339102"/>
          </a:xfrm>
          <a:prstGeom prst="rect">
            <a:avLst/>
          </a:prstGeom>
          <a:ln w="317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indent="449263" algn="just">
              <a:spcBef>
                <a:spcPts val="600"/>
              </a:spcBef>
              <a:spcAft>
                <a:spcPts val="600"/>
              </a:spcAft>
            </a:pPr>
            <a:r>
              <a:rPr lang="uk-UA" dirty="0"/>
              <a:t>Члени комісії </a:t>
            </a:r>
            <a:r>
              <a:rPr lang="uk-UA" b="1" dirty="0"/>
              <a:t>можуть провести повторне оцінювання проекту/проектів</a:t>
            </a:r>
            <a:r>
              <a:rPr lang="uk-UA" dirty="0"/>
              <a:t>, за рішенням комісії, у разі наявності вмотивованих підстав для такого рішення.</a:t>
            </a:r>
          </a:p>
          <a:p>
            <a:pPr indent="449263" algn="just">
              <a:spcBef>
                <a:spcPts val="600"/>
              </a:spcBef>
              <a:spcAft>
                <a:spcPts val="600"/>
              </a:spcAft>
            </a:pPr>
            <a:r>
              <a:rPr lang="uk-UA" dirty="0" smtClean="0"/>
              <a:t>Індивідуальні </a:t>
            </a:r>
            <a:r>
              <a:rPr lang="uk-UA" dirty="0"/>
              <a:t>оцінки експертами проектів можуть бути проаналізовані на предмет виявлення об'єктивної невідповідності реальному стану речей отриманих балів за окремими (або усіма) критеріями по проекту/проектам. </a:t>
            </a:r>
          </a:p>
          <a:p>
            <a:pPr indent="449263" algn="just">
              <a:spcBef>
                <a:spcPts val="600"/>
              </a:spcBef>
              <a:spcAft>
                <a:spcPts val="600"/>
              </a:spcAft>
            </a:pPr>
            <a:r>
              <a:rPr lang="uk-UA" dirty="0"/>
              <a:t>Повторне оцінювання щодо </a:t>
            </a:r>
            <a:r>
              <a:rPr lang="uk-UA" dirty="0" smtClean="0"/>
              <a:t>проекту </a:t>
            </a:r>
            <a:r>
              <a:rPr lang="uk-UA" dirty="0"/>
              <a:t>може бути застосоване </a:t>
            </a:r>
            <a:r>
              <a:rPr lang="uk-UA" b="1" dirty="0"/>
              <a:t>лише </a:t>
            </a:r>
            <a:r>
              <a:rPr lang="uk-UA" b="1" dirty="0" smtClean="0"/>
              <a:t>один </a:t>
            </a:r>
            <a:r>
              <a:rPr lang="uk-UA" b="1" dirty="0"/>
              <a:t>раз </a:t>
            </a:r>
            <a:r>
              <a:rPr lang="uk-UA" dirty="0"/>
              <a:t>та має бути здійснено </a:t>
            </a:r>
            <a:r>
              <a:rPr lang="uk-UA" b="1" dirty="0"/>
              <a:t>протягом </a:t>
            </a:r>
            <a:r>
              <a:rPr lang="uk-UA" b="1" dirty="0" smtClean="0"/>
              <a:t>п’яти </a:t>
            </a:r>
            <a:r>
              <a:rPr lang="uk-UA" b="1" dirty="0"/>
              <a:t>робочих </a:t>
            </a:r>
            <a:r>
              <a:rPr lang="uk-UA" dirty="0"/>
              <a:t>днів з дня засідання комісії.</a:t>
            </a:r>
          </a:p>
        </p:txBody>
      </p:sp>
    </p:spTree>
    <p:extLst>
      <p:ext uri="{BB962C8B-B14F-4D97-AF65-F5344CB8AC3E}">
        <p14:creationId xmlns:p14="http://schemas.microsoft.com/office/powerpoint/2010/main" val="4803452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ITQOMvr0Gv2EgWtM5HLg"/>
</p:tagLst>
</file>

<file path=ppt/theme/theme1.xml><?xml version="1.0" encoding="utf-8"?>
<a:theme xmlns:a="http://schemas.openxmlformats.org/drawingml/2006/main" name="Тема Office">
  <a:themeElements>
    <a:clrScheme name="Стандартна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Стандартна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211</TotalTime>
  <Words>1411</Words>
  <Application>Microsoft Office PowerPoint</Application>
  <PresentationFormat>Экран (4:3)</PresentationFormat>
  <Paragraphs>260</Paragraphs>
  <Slides>15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1" baseType="lpstr">
      <vt:lpstr>Arial</vt:lpstr>
      <vt:lpstr>Calibri</vt:lpstr>
      <vt:lpstr>Times New Roman</vt:lpstr>
      <vt:lpstr>Wingdings</vt:lpstr>
      <vt:lpstr>Тема Office</vt:lpstr>
      <vt:lpstr>Аркуш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ОРЯДОК  підготовки, оцінки та відбору інвестиційних програм і проектів регіонального розвитку, що можуть реалізуватися за рахунок коштів державного фонду регіонального розвитку у 2015 році</dc:title>
  <dc:creator>Яндюк Андрій Анатолійович</dc:creator>
  <cp:lastModifiedBy>Ігор  Пітцик Мирославович</cp:lastModifiedBy>
  <cp:revision>353</cp:revision>
  <cp:lastPrinted>2016-09-08T07:38:06Z</cp:lastPrinted>
  <dcterms:created xsi:type="dcterms:W3CDTF">2015-02-14T11:38:58Z</dcterms:created>
  <dcterms:modified xsi:type="dcterms:W3CDTF">2016-11-23T14:53:26Z</dcterms:modified>
</cp:coreProperties>
</file>